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theme/theme2.xml" ContentType="application/vnd.openxmlformats-officedocument.theme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theme/theme4.xml" ContentType="application/vnd.openxmlformats-officedocument.theme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7045" r:id="rId4"/>
    <p:sldMasterId id="2147485226" r:id="rId5"/>
    <p:sldMasterId id="2147486958" r:id="rId6"/>
    <p:sldMasterId id="2147487248" r:id="rId7"/>
    <p:sldMasterId id="2147483821" r:id="rId8"/>
  </p:sldMasterIdLst>
  <p:notesMasterIdLst>
    <p:notesMasterId r:id="rId13"/>
  </p:notesMasterIdLst>
  <p:sldIdLst>
    <p:sldId id="444" r:id="rId9"/>
    <p:sldId id="447" r:id="rId10"/>
    <p:sldId id="445" r:id="rId11"/>
    <p:sldId id="446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ksym Medvied" initials="MM" lastIdx="1" clrIdx="0">
    <p:extLst>
      <p:ext uri="{19B8F6BF-5375-455C-9EA6-DF929625EA0E}">
        <p15:presenceInfo xmlns:p15="http://schemas.microsoft.com/office/powerpoint/2012/main" userId="S::max.medved@seagate.com::03f7a06b-a79b-4ea7-9962-edf9abd0a47d" providerId="AD"/>
      </p:ext>
    </p:extLst>
  </p:cmAuthor>
  <p:cmAuthor id="2" name="Ujjwal Lanjewar" initials="UL" lastIdx="4" clrIdx="1">
    <p:extLst>
      <p:ext uri="{19B8F6BF-5375-455C-9EA6-DF929625EA0E}">
        <p15:presenceInfo xmlns:p15="http://schemas.microsoft.com/office/powerpoint/2012/main" userId="S::ujjwal.lanjewar@seagate.com::a7c04530-e8b4-4fe4-b8a0-dd21022acb40" providerId="AD"/>
      </p:ext>
    </p:extLst>
  </p:cmAuthor>
  <p:cmAuthor id="3" name="Ivan Tishchenko" initials="IT" lastIdx="3" clrIdx="2">
    <p:extLst>
      <p:ext uri="{19B8F6BF-5375-455C-9EA6-DF929625EA0E}">
        <p15:presenceInfo xmlns:p15="http://schemas.microsoft.com/office/powerpoint/2012/main" userId="S::ivan.tishchenko@seagate.com::da109aa0-1b7f-44e3-9334-7dc633c2fd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99FF"/>
    <a:srgbClr val="FFB793"/>
    <a:srgbClr val="FF9966"/>
    <a:srgbClr val="FA7D7D"/>
    <a:srgbClr val="6EBE49"/>
    <a:srgbClr val="ACCD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910" autoAdjust="0"/>
    <p:restoredTop sz="94694"/>
  </p:normalViewPr>
  <p:slideViewPr>
    <p:cSldViewPr snapToGrid="0">
      <p:cViewPr varScale="1">
        <p:scale>
          <a:sx n="68" d="100"/>
          <a:sy n="68" d="100"/>
        </p:scale>
        <p:origin x="87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600E9-16E0-4A9C-8002-237942B9B468}" type="datetimeFigureOut">
              <a:rPr lang="en"/>
              <a:t>12/2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04E7D6-B666-418D-B581-4DCEB8DC6EF6}" type="slidenum">
              <a:rPr lang="en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8119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39763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9455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52133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57916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3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1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4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8.jpeg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3.jpeg"/><Relationship Id="rId5" Type="http://schemas.openxmlformats.org/officeDocument/2006/relationships/image" Target="../media/image52.png"/><Relationship Id="rId4" Type="http://schemas.openxmlformats.org/officeDocument/2006/relationships/image" Target="../media/image51.jpeg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8.jpeg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4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4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4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5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5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5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5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5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5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5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1.png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21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7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1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5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1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1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6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Impact ">
  <p:cSld name="Big Impact ">
    <p:bg>
      <p:bgPr>
        <a:solidFill>
          <a:schemeClr val="lt1"/>
        </a:solidFill>
        <a:effectLst/>
      </p:bgPr>
    </p:bg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" name="Google Shape;634;p80"/>
          <p:cNvPicPr preferRelativeResize="0"/>
          <p:nvPr/>
        </p:nvPicPr>
        <p:blipFill rotWithShape="1">
          <a:blip r:embed="rId2">
            <a:alphaModFix/>
          </a:blip>
          <a:srcRect l="551" t="24378" r="877" b="20403"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35" name="Google Shape;635;p80"/>
          <p:cNvSpPr txBox="1">
            <a:spLocks noGrp="1"/>
          </p:cNvSpPr>
          <p:nvPr>
            <p:ph type="title"/>
          </p:nvPr>
        </p:nvSpPr>
        <p:spPr>
          <a:xfrm>
            <a:off x="51" y="2417970"/>
            <a:ext cx="12192000" cy="14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6400"/>
            </a:lvl9pPr>
          </a:lstStyle>
          <a:p>
            <a:endParaRPr/>
          </a:p>
        </p:txBody>
      </p:sp>
      <p:sp>
        <p:nvSpPr>
          <p:cNvPr id="636" name="Google Shape;636;p8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7" name="Google Shape;637;p8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38" name="Google Shape;638;p8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9" name="Google Shape;639;p8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0" name="Google Shape;640;p8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2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1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4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6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6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6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2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2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5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6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8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8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8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6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6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09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09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2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1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1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6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1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1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1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7"/>
            <a:ext cx="11193600" cy="4451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8043" lvl="1" indent="-431390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7063" lvl="2" indent="-431390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6083" lvl="3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5105" lvl="4" indent="-431390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4126" lvl="5" indent="-431390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63146" lvl="6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72168" lvl="7" indent="-431390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81188" lvl="8" indent="-431390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6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6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4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3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5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5"/>
            <a:ext cx="10610400" cy="7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0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7"/>
            <a:ext cx="4965200" cy="3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0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3"/>
            <a:ext cx="6756000" cy="685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0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5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5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0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5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5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5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1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7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0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4"/>
            <a:ext cx="12191600" cy="3449200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5"/>
            <a:ext cx="12186800" cy="34808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5"/>
            <a:ext cx="1681200" cy="18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5"/>
            <a:ext cx="1681200" cy="18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1"/>
            <a:ext cx="3562800" cy="326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1"/>
            <a:ext cx="3562800" cy="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1"/>
            <a:ext cx="3562800" cy="326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1"/>
            <a:ext cx="3562800" cy="326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1"/>
            <a:ext cx="3562800" cy="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1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5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700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700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700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5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7"/>
            <a:ext cx="3184000" cy="304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7"/>
            <a:ext cx="3184000" cy="30444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7"/>
            <a:ext cx="3184000" cy="304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5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5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07"/>
            <a:ext cx="7427200" cy="42612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07"/>
            <a:ext cx="4768000" cy="4261200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1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0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5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5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0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5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0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0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0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0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0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5"/>
            <a:ext cx="11193600" cy="44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9170" lvl="1" indent="-431789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8754" lvl="2" indent="-431789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8339" lvl="3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7924" lvl="4" indent="-431789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7509" lvl="5" indent="-431789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67093" lvl="6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76678" lvl="7" indent="-431789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86263" lvl="8" indent="-431789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5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1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5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5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5"/>
            <a:ext cx="3581200" cy="13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3"/>
            <a:ext cx="0" cy="1518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3"/>
            <a:ext cx="0" cy="1518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5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5"/>
            <a:ext cx="3581200" cy="13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3"/>
            <a:ext cx="3581200" cy="13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3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" name="Google Shape;975;p105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68575" tIns="68575" rIns="68575" bIns="6857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9pPr>
          </a:lstStyle>
          <a:p>
            <a:endParaRPr/>
          </a:p>
        </p:txBody>
      </p:sp>
      <p:sp>
        <p:nvSpPr>
          <p:cNvPr id="976" name="Google Shape;976;p105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9pPr>
          </a:lstStyle>
          <a:p>
            <a:endParaRPr/>
          </a:p>
        </p:txBody>
      </p:sp>
      <p:sp>
        <p:nvSpPr>
          <p:cNvPr id="977" name="Google Shape;977;p10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4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5821" lvl="1" indent="-42216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3730" lvl="2" indent="-42216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5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3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90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21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7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40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lnSpc>
                <a:spcPct val="100000"/>
              </a:lnSpc>
              <a:spcBef>
                <a:spcPts val="1596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6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402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5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marR="0" lvl="0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22160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402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3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4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7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4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spcBef>
                <a:spcPts val="1596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39047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spcBef>
                <a:spcPts val="1596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39047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spcBef>
                <a:spcPts val="1596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39047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3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7912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5821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3730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1639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1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6916" lvl="1" indent="-42253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5373" lvl="2" indent="-42253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5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9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7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9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lnSpc>
                <a:spcPct val="100000"/>
              </a:lnSpc>
              <a:spcBef>
                <a:spcPts val="1597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5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4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marR="0" lvl="0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22539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3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3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7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3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39442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39442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39442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3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8458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6916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5373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3829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8458" lvl="0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6916" lvl="1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5373" lvl="2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3829" lvl="3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2289" lvl="4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0747" lvl="5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59203" lvl="6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67661" lvl="7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76118" lvl="8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7912" lvl="0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5821" lvl="1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3730" lvl="2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1639" lvl="3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39551" lvl="4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47460" lvl="5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55371" lvl="6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63280" lvl="7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71189" lvl="8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3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6947" lvl="1" indent="-42255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5419" lvl="2" indent="-42255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4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90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20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6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9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lnSpc>
                <a:spcPct val="100000"/>
              </a:lnSpc>
              <a:spcBef>
                <a:spcPts val="1597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5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401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4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marR="0" lvl="0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22550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401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6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5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3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6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4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39453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39453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39453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2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8474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6947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5419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3891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8474" lvl="0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6947" lvl="1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5419" lvl="2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3891" lvl="3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2365" lvl="4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0837" lvl="5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59310" lvl="6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67782" lvl="7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76255" lvl="8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1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8043" lvl="1" indent="-42293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7063" lvl="2" indent="-422931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4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1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9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6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8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lnSpc>
                <a:spcPct val="100000"/>
              </a:lnSpc>
              <a:spcBef>
                <a:spcPts val="1599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4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2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marR="0" lvl="0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22931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8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4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4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4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1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5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6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3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spcBef>
                <a:spcPts val="1599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39849" algn="l" rtl="0">
              <a:spcBef>
                <a:spcPts val="799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spcBef>
                <a:spcPts val="1599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39849" algn="l" rtl="0">
              <a:spcBef>
                <a:spcPts val="799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spcBef>
                <a:spcPts val="1599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39849" algn="l" rtl="0">
              <a:spcBef>
                <a:spcPts val="799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2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9021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8043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7063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6083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9021" lvl="0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8043" lvl="1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7063" lvl="2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6083" lvl="3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5105" lvl="4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4126" lvl="5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63146" lvl="6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72168" lvl="7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81188" lvl="8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8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0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9170" lvl="1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3"/>
            <a:ext cx="1185200" cy="2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9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5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7"/>
            <a:ext cx="11364400" cy="46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3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1"/>
            <a:ext cx="102236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marR="0" lvl="0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9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9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9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3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477" marR="0" lvl="1" indent="-22647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751" marR="0" lvl="2" indent="-19642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626" marR="0" lvl="3" indent="-19303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1502" marR="0" lvl="4" indent="-18964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52716" marR="0" lvl="5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62301" marR="0" lvl="6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71886" marR="0" lvl="7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81470" marR="0" lvl="8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3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477" marR="0" lvl="1" indent="-22647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751" marR="0" lvl="2" indent="-19642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626" marR="0" lvl="3" indent="-19303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1502" marR="0" lvl="4" indent="-18964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52716" marR="0" lvl="5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62301" marR="0" lvl="6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71886" marR="0" lvl="7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81470" marR="0" lvl="8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3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477" marR="0" lvl="1" indent="-22647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751" marR="0" lvl="2" indent="-19642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626" marR="0" lvl="3" indent="-19303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1502" marR="0" lvl="4" indent="-18964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52716" marR="0" lvl="5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62301" marR="0" lvl="6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71886" marR="0" lvl="7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81470" marR="0" lvl="8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4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0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2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spcBef>
                <a:spcPts val="1600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40256" algn="l" rtl="0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spcBef>
                <a:spcPts val="1600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40256" algn="l" rtl="0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spcBef>
                <a:spcPts val="1600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40256" algn="l" rtl="0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1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9585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9170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8754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8339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9585" lvl="0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9170" lvl="1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8754" lvl="2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8339" lvl="3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7924" lvl="4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7509" lvl="5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67093" lvl="6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76678" lvl="7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86263" lvl="8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04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868727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3926" y="1670050"/>
            <a:ext cx="10344150" cy="42640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5707744" y="1297178"/>
            <a:ext cx="776519" cy="6398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652" tIns="22827" rIns="45652" bIns="22827" rtlCol="0" anchor="ctr"/>
          <a:lstStyle/>
          <a:p>
            <a:pPr algn="ctr"/>
            <a:endParaRPr lang="en-US" sz="1199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11596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 lIns="182880" tIns="27432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 lIns="182880" tIns="27432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5273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54865" y="1739141"/>
            <a:ext cx="3455502" cy="4532312"/>
          </a:xfrm>
          <a:prstGeom prst="rect">
            <a:avLst/>
          </a:prstGeom>
        </p:spPr>
        <p:txBody>
          <a:bodyPr lIns="182880" tIns="18288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13512" y="1739141"/>
            <a:ext cx="3455502" cy="4532312"/>
          </a:xfrm>
          <a:prstGeom prst="rect">
            <a:avLst/>
          </a:prstGeom>
        </p:spPr>
        <p:txBody>
          <a:bodyPr lIns="182880" tIns="18288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72159" y="1739141"/>
            <a:ext cx="3455502" cy="4532312"/>
          </a:xfrm>
          <a:prstGeom prst="rect">
            <a:avLst/>
          </a:prstGeom>
        </p:spPr>
        <p:txBody>
          <a:bodyPr lIns="182880" tIns="18288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8599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10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10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5291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99647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01043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7A7EAEA-CF87-6B40-8257-CF9C6E7C75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02439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87008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6651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>
            <a:lvl1pPr algn="ctr">
              <a:defRPr sz="1000"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62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E20A4C-035A-9A47-8049-D59FEA5B12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4726" y="2318789"/>
            <a:ext cx="3732213" cy="222042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7672388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4294606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72338" y="0"/>
            <a:ext cx="4247323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21966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8C6AEC0-A131-F54C-9FFC-C561BE034690}"/>
              </a:ext>
            </a:extLst>
          </p:cNvPr>
          <p:cNvSpPr txBox="1">
            <a:spLocks/>
          </p:cNvSpPr>
          <p:nvPr userDrawn="1"/>
        </p:nvSpPr>
        <p:spPr>
          <a:xfrm>
            <a:off x="4094921" y="4138640"/>
            <a:ext cx="3972339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C9B4040-BACE-3844-86C1-D47858F4F5CB}"/>
              </a:ext>
            </a:extLst>
          </p:cNvPr>
          <p:cNvSpPr txBox="1">
            <a:spLocks/>
          </p:cNvSpPr>
          <p:nvPr userDrawn="1"/>
        </p:nvSpPr>
        <p:spPr>
          <a:xfrm>
            <a:off x="4089951" y="4138640"/>
            <a:ext cx="3187147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3B2263D9-49BC-174E-9028-ED210D5AB886}"/>
              </a:ext>
            </a:extLst>
          </p:cNvPr>
          <p:cNvSpPr txBox="1">
            <a:spLocks/>
          </p:cNvSpPr>
          <p:nvPr userDrawn="1"/>
        </p:nvSpPr>
        <p:spPr>
          <a:xfrm>
            <a:off x="3996529" y="4853528"/>
            <a:ext cx="3373992" cy="5379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Open Sans Light"/>
              </a:defRPr>
            </a:lvl1pPr>
            <a:lvl2pPr marL="543505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1087009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630517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217402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989277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783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289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794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B6CFAC-DE40-2A49-8AB5-7476463CE97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450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4E169AF-5D67-CA47-A0CE-69C80D93C3B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178462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768A295-6D91-804D-AB7D-4F150F2D9A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6923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4CADA4-D39F-6443-97F6-AFB106C0E44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450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C8D13E3-F06F-7041-BE91-60BB06F91E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166888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9F9B074D-D5F5-3543-8913-F8C9D764959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56374" y="4851194"/>
            <a:ext cx="375498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4740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2FFB88-EC9B-4B92-9F41-562E94169B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EC3FE05-117B-854A-82A8-F19D64577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96140"/>
            <a:ext cx="10515600" cy="76217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959556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+ Image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E82905-E4DD-CC40-97AE-8641DAD28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98995"/>
            <a:ext cx="4588565" cy="132556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23234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hoto +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89F5119-43B2-3247-9069-5ED3B058975C}"/>
              </a:ext>
            </a:extLst>
          </p:cNvPr>
          <p:cNvSpPr txBox="1"/>
          <p:nvPr userDrawn="1"/>
        </p:nvSpPr>
        <p:spPr>
          <a:xfrm>
            <a:off x="1881052" y="4901204"/>
            <a:ext cx="23601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>
                <a:solidFill>
                  <a:schemeClr val="bg1"/>
                </a:solidFill>
                <a:latin typeface="+mj-lt"/>
              </a:rPr>
              <a:t>ARIAL 40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6D87A55-D413-1049-ABD0-5D7F87221D68}"/>
              </a:ext>
            </a:extLst>
          </p:cNvPr>
          <p:cNvSpPr/>
          <p:nvPr userDrawn="1"/>
        </p:nvSpPr>
        <p:spPr>
          <a:xfrm>
            <a:off x="1544596" y="5156293"/>
            <a:ext cx="206540" cy="20654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/>
            </a:endParaRP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7ACFACF9-DD67-3F4C-B9D9-F4FD25170B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21359" y="4609399"/>
            <a:ext cx="5776294" cy="1093787"/>
          </a:xfrm>
          <a:prstGeom prst="rect">
            <a:avLst/>
          </a:prstGeom>
        </p:spPr>
        <p:txBody>
          <a:bodyPr/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696288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9BD1019-6DE8-224E-9965-F947CEE8F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4792" y="2469951"/>
            <a:ext cx="3425254" cy="381375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89BA1BE-CC15-1B48-B94A-D536459B45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16251" y="3288863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138901D1-EDB0-BB45-998F-7D756253BF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1272" y="393486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B53C5B0-0511-764B-9818-C22F323DFD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69811" y="3288863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20C9A8F2-2702-0D49-BEAB-24F408308A8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54832" y="393486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3AF5E2-A761-6144-A007-72AC2FC28AD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421563" y="2470150"/>
            <a:ext cx="3425825" cy="381176"/>
          </a:xfrm>
          <a:prstGeom prst="rect">
            <a:avLst/>
          </a:prstGeom>
        </p:spPr>
        <p:txBody>
          <a:bodyPr anchor="ctr"/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77394067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+ Content Gri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3896410" cy="3428996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 hasCustomPrompt="1"/>
          </p:nvPr>
        </p:nvSpPr>
        <p:spPr>
          <a:xfrm>
            <a:off x="3916287" y="3428997"/>
            <a:ext cx="3956706" cy="342097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7892125" y="-1935"/>
            <a:ext cx="4299876" cy="3428996"/>
          </a:xfrm>
          <a:prstGeom prst="rect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id-ID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DA256D9-E171-584A-A056-2CDE62F86F54}"/>
              </a:ext>
            </a:extLst>
          </p:cNvPr>
          <p:cNvSpPr/>
          <p:nvPr/>
        </p:nvSpPr>
        <p:spPr>
          <a:xfrm>
            <a:off x="5820194" y="93653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1F988B-95B2-0F41-B509-46D2185FD2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0090" y="133099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34465F0-AAD5-2641-9954-3B6DC6D607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5111" y="190755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B873057-9D46-3445-9E3A-C036B4796A50}"/>
              </a:ext>
            </a:extLst>
          </p:cNvPr>
          <p:cNvSpPr/>
          <p:nvPr userDrawn="1"/>
        </p:nvSpPr>
        <p:spPr>
          <a:xfrm>
            <a:off x="1917428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24912F3-5F88-2F4F-8431-A637B459D1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7324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C069D62-C773-5F4C-A228-C8061D7CD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2345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038E26D-F877-0240-9507-DA27C78FD74B}"/>
              </a:ext>
            </a:extLst>
          </p:cNvPr>
          <p:cNvSpPr/>
          <p:nvPr userDrawn="1"/>
        </p:nvSpPr>
        <p:spPr>
          <a:xfrm>
            <a:off x="10057575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EACD3D0-A27A-B14E-8A1F-10B935F12B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87471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5BAB2EAA-8AB6-9D43-8F6D-345D513DF8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72492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66158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2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2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 + Conten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val 25">
            <a:extLst>
              <a:ext uri="{FF2B5EF4-FFF2-40B4-BE49-F238E27FC236}">
                <a16:creationId xmlns:a16="http://schemas.microsoft.com/office/drawing/2014/main" id="{B53D3BA0-FFB2-F142-8B78-89C6BBCC7B73}"/>
              </a:ext>
            </a:extLst>
          </p:cNvPr>
          <p:cNvSpPr/>
          <p:nvPr userDrawn="1"/>
        </p:nvSpPr>
        <p:spPr>
          <a:xfrm>
            <a:off x="2162594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7E1406B-0B0E-B245-8650-E94BCBE997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2490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9FE6C80D-0441-FB4E-A161-FE53A7B70F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7511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3C60729-DA93-AA4B-A8A5-F5F97051F7C2}"/>
              </a:ext>
            </a:extLst>
          </p:cNvPr>
          <p:cNvSpPr/>
          <p:nvPr userDrawn="1"/>
        </p:nvSpPr>
        <p:spPr>
          <a:xfrm>
            <a:off x="2162594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F150151-68FA-C644-A144-79CA9B1B943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1392490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3092E41E-50E9-5545-A36B-F0DE5B3C3FB4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477511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65CAE8-5CF4-7045-91ED-E8C12AE59741}"/>
              </a:ext>
            </a:extLst>
          </p:cNvPr>
          <p:cNvSpPr/>
          <p:nvPr userDrawn="1"/>
        </p:nvSpPr>
        <p:spPr>
          <a:xfrm>
            <a:off x="10084081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C375E08-091F-7340-B9B7-C2C3CF326179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9313977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B4471DD-9484-E84C-969B-7B070770AA17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>
          <a:xfrm>
            <a:off x="8398998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28752F7-ECC1-144E-8FEC-1C4E4E12F7D1}"/>
              </a:ext>
            </a:extLst>
          </p:cNvPr>
          <p:cNvSpPr/>
          <p:nvPr userDrawn="1"/>
        </p:nvSpPr>
        <p:spPr>
          <a:xfrm>
            <a:off x="10084081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ABBF111-8A51-D343-A1B5-F0E2106E8081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313977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979E147C-32E7-F049-A2C1-AA7010606F4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8398998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Рисунок 4">
            <a:extLst>
              <a:ext uri="{FF2B5EF4-FFF2-40B4-BE49-F238E27FC236}">
                <a16:creationId xmlns:a16="http://schemas.microsoft.com/office/drawing/2014/main" id="{ED79AA77-FDFA-5B4C-84F9-3E8CD5D6B297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4239374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9" name="Рисунок 4">
            <a:extLst>
              <a:ext uri="{FF2B5EF4-FFF2-40B4-BE49-F238E27FC236}">
                <a16:creationId xmlns:a16="http://schemas.microsoft.com/office/drawing/2014/main" id="{EF41D5EF-FBA6-5040-9E08-674A4815AACE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6107573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0" name="Рисунок 4">
            <a:extLst>
              <a:ext uri="{FF2B5EF4-FFF2-40B4-BE49-F238E27FC236}">
                <a16:creationId xmlns:a16="http://schemas.microsoft.com/office/drawing/2014/main" id="{B77BD9E3-621D-6C4F-B3D9-913E268DF3A1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4238640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1" name="Рисунок 4">
            <a:extLst>
              <a:ext uri="{FF2B5EF4-FFF2-40B4-BE49-F238E27FC236}">
                <a16:creationId xmlns:a16="http://schemas.microsoft.com/office/drawing/2014/main" id="{04E76A11-720B-4143-875B-9856B63830B5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6107573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1142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21" grpId="0"/>
    </p:bld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Рисунок 4"/>
          <p:cNvSpPr>
            <a:spLocks noGrp="1"/>
          </p:cNvSpPr>
          <p:nvPr>
            <p:ph type="pic" sz="quarter" idx="86" hasCustomPrompt="1"/>
          </p:nvPr>
        </p:nvSpPr>
        <p:spPr>
          <a:xfrm>
            <a:off x="1" y="-12699"/>
            <a:ext cx="6096004" cy="230028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42" hasCustomPrompt="1"/>
          </p:nvPr>
        </p:nvSpPr>
        <p:spPr>
          <a:xfrm>
            <a:off x="7236238" y="711201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bg2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36238" y="2997200"/>
            <a:ext cx="3973591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61" name="Рисунок 4"/>
          <p:cNvSpPr>
            <a:spLocks noGrp="1"/>
          </p:cNvSpPr>
          <p:nvPr>
            <p:ph type="pic" sz="quarter" idx="87" hasCustomPrompt="1"/>
          </p:nvPr>
        </p:nvSpPr>
        <p:spPr>
          <a:xfrm>
            <a:off x="0" y="2301877"/>
            <a:ext cx="6096001" cy="2257423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62" name="Рисунок 4"/>
          <p:cNvSpPr>
            <a:spLocks noGrp="1"/>
          </p:cNvSpPr>
          <p:nvPr>
            <p:ph type="pic" sz="quarter" idx="88" hasCustomPrompt="1"/>
          </p:nvPr>
        </p:nvSpPr>
        <p:spPr>
          <a:xfrm>
            <a:off x="1" y="4575776"/>
            <a:ext cx="6096004" cy="2285999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E102A259-5898-8344-85DB-368A545EF8C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7236238" y="5372653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3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</p:spTree>
    <p:extLst>
      <p:ext uri="{BB962C8B-B14F-4D97-AF65-F5344CB8AC3E}">
        <p14:creationId xmlns:p14="http://schemas.microsoft.com/office/powerpoint/2010/main" val="3460735985"/>
      </p:ext>
    </p:extLst>
  </p:cSld>
  <p:clrMapOvr>
    <a:masterClrMapping/>
  </p:clrMapOvr>
  <p:transition spd="slow"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29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1" grpId="0"/>
      <p:bldP spid="62" grpId="0"/>
      <p:bldP spid="10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Sta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858972-ED82-44F8-8270-3B916FDC7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5206" y="1397344"/>
            <a:ext cx="3573462" cy="1853537"/>
          </a:xfrm>
          <a:prstGeom prst="rect">
            <a:avLst/>
          </a:prstGeom>
        </p:spPr>
        <p:txBody>
          <a:bodyPr/>
          <a:lstStyle>
            <a:lvl1pPr>
              <a:defRPr sz="12500"/>
            </a:lvl1pPr>
          </a:lstStyle>
          <a:p>
            <a:pPr lvl="0"/>
            <a:r>
              <a:rPr lang="en-US"/>
              <a:t>65%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235206" y="3283155"/>
            <a:ext cx="5283928" cy="10010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spcBef>
                <a:spcPts val="0"/>
              </a:spcBef>
              <a:defRPr lang="en-US" sz="4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 Description</a:t>
            </a:r>
          </a:p>
        </p:txBody>
      </p:sp>
    </p:spTree>
    <p:extLst>
      <p:ext uri="{BB962C8B-B14F-4D97-AF65-F5344CB8AC3E}">
        <p14:creationId xmlns:p14="http://schemas.microsoft.com/office/powerpoint/2010/main" val="4007138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22780F7E-14BA-8E49-A8BF-D4CF3F8FDBC5}"/>
              </a:ext>
            </a:extLst>
          </p:cNvPr>
          <p:cNvSpPr/>
          <p:nvPr userDrawn="1"/>
        </p:nvSpPr>
        <p:spPr>
          <a:xfrm>
            <a:off x="671496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2FB1EAD-2AB5-AA45-90E7-4B340FEA7E2C}"/>
              </a:ext>
            </a:extLst>
          </p:cNvPr>
          <p:cNvSpPr/>
          <p:nvPr userDrawn="1"/>
        </p:nvSpPr>
        <p:spPr>
          <a:xfrm>
            <a:off x="3384041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D75D7B-C466-B84B-94C2-0CF10FCD8F80}"/>
              </a:ext>
            </a:extLst>
          </p:cNvPr>
          <p:cNvSpPr/>
          <p:nvPr userDrawn="1"/>
        </p:nvSpPr>
        <p:spPr>
          <a:xfrm>
            <a:off x="6095417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1A1FE36-0985-7C4B-98B1-FFCCB18E24A5}"/>
              </a:ext>
            </a:extLst>
          </p:cNvPr>
          <p:cNvSpPr/>
          <p:nvPr userDrawn="1"/>
        </p:nvSpPr>
        <p:spPr>
          <a:xfrm>
            <a:off x="8807963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18EB5CCF-6D0A-FB4F-9500-5E56D6E98AE1}"/>
              </a:ext>
            </a:extLst>
          </p:cNvPr>
          <p:cNvSpPr/>
          <p:nvPr userDrawn="1"/>
        </p:nvSpPr>
        <p:spPr>
          <a:xfrm>
            <a:off x="672910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8D09E69B-F3E2-304D-A678-39F1C8A98719}"/>
              </a:ext>
            </a:extLst>
          </p:cNvPr>
          <p:cNvSpPr/>
          <p:nvPr userDrawn="1"/>
        </p:nvSpPr>
        <p:spPr>
          <a:xfrm rot="10800000">
            <a:off x="3385455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37D1F4E7-0014-6746-AD44-B94638EDBEA9}"/>
              </a:ext>
            </a:extLst>
          </p:cNvPr>
          <p:cNvSpPr/>
          <p:nvPr userDrawn="1"/>
        </p:nvSpPr>
        <p:spPr>
          <a:xfrm>
            <a:off x="6096831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D4B4744D-4168-4E4C-A83C-2E26E17D6BD5}"/>
              </a:ext>
            </a:extLst>
          </p:cNvPr>
          <p:cNvSpPr/>
          <p:nvPr userDrawn="1"/>
        </p:nvSpPr>
        <p:spPr>
          <a:xfrm rot="10800000">
            <a:off x="8809376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E05944-BC6B-AF4C-B1A6-522E0049645E}"/>
              </a:ext>
            </a:extLst>
          </p:cNvPr>
          <p:cNvSpPr txBox="1"/>
          <p:nvPr userDrawn="1"/>
        </p:nvSpPr>
        <p:spPr>
          <a:xfrm>
            <a:off x="129263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91CEA4-E78F-5E4A-A0EA-DF5BC9D379C4}"/>
              </a:ext>
            </a:extLst>
          </p:cNvPr>
          <p:cNvSpPr txBox="1"/>
          <p:nvPr userDrawn="1"/>
        </p:nvSpPr>
        <p:spPr>
          <a:xfrm>
            <a:off x="545428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6E816E-AE03-8A4C-9BAB-2728DD64C914}"/>
              </a:ext>
            </a:extLst>
          </p:cNvPr>
          <p:cNvSpPr txBox="1"/>
          <p:nvPr userDrawn="1"/>
        </p:nvSpPr>
        <p:spPr>
          <a:xfrm>
            <a:off x="4005177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D6AE0A-CD66-CF44-AFAA-AA50992AF2C2}"/>
              </a:ext>
            </a:extLst>
          </p:cNvPr>
          <p:cNvSpPr txBox="1"/>
          <p:nvPr userDrawn="1"/>
        </p:nvSpPr>
        <p:spPr>
          <a:xfrm>
            <a:off x="3257973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72C1AD-8395-C140-8058-2EE2956849B9}"/>
              </a:ext>
            </a:extLst>
          </p:cNvPr>
          <p:cNvSpPr txBox="1"/>
          <p:nvPr userDrawn="1"/>
        </p:nvSpPr>
        <p:spPr>
          <a:xfrm>
            <a:off x="671655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9D9995-D460-EA40-A0DE-38D420CC1619}"/>
              </a:ext>
            </a:extLst>
          </p:cNvPr>
          <p:cNvSpPr txBox="1"/>
          <p:nvPr userDrawn="1"/>
        </p:nvSpPr>
        <p:spPr>
          <a:xfrm>
            <a:off x="5969349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5976319-08C3-794E-91B9-34065101689B}"/>
              </a:ext>
            </a:extLst>
          </p:cNvPr>
          <p:cNvSpPr txBox="1"/>
          <p:nvPr userDrawn="1"/>
        </p:nvSpPr>
        <p:spPr>
          <a:xfrm>
            <a:off x="9429099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5A1571-34BA-F941-BF9F-71AE225C4EDF}"/>
              </a:ext>
            </a:extLst>
          </p:cNvPr>
          <p:cNvSpPr txBox="1"/>
          <p:nvPr userDrawn="1"/>
        </p:nvSpPr>
        <p:spPr>
          <a:xfrm>
            <a:off x="8681895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0452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2629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410633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270B783-4DF7-FE4D-8E34-A74A81811F13}"/>
              </a:ext>
            </a:extLst>
          </p:cNvPr>
          <p:cNvGrpSpPr/>
          <p:nvPr userDrawn="1"/>
        </p:nvGrpSpPr>
        <p:grpSpPr>
          <a:xfrm>
            <a:off x="7783577" y="2864690"/>
            <a:ext cx="603504" cy="603504"/>
            <a:chOff x="4040238" y="1899265"/>
            <a:chExt cx="603504" cy="603504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5CC7CFDA-5097-AC4C-9922-EB8EC3B735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7EF06CD-382F-4B4E-B02C-9E8B4EA3D3B3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24" name="Line 5">
            <a:extLst>
              <a:ext uri="{FF2B5EF4-FFF2-40B4-BE49-F238E27FC236}">
                <a16:creationId xmlns:a16="http://schemas.microsoft.com/office/drawing/2014/main" id="{6E274D75-7561-684D-AAE5-BA6FAD86995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902282" y="1"/>
            <a:ext cx="1" cy="3331493"/>
          </a:xfrm>
          <a:prstGeom prst="line">
            <a:avLst/>
          </a:prstGeom>
          <a:noFill/>
          <a:ln w="1143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5" name="Freeform 6">
            <a:extLst>
              <a:ext uri="{FF2B5EF4-FFF2-40B4-BE49-F238E27FC236}">
                <a16:creationId xmlns:a16="http://schemas.microsoft.com/office/drawing/2014/main" id="{DC9DEA8B-05F5-1945-A9BA-14753C45955D}"/>
              </a:ext>
            </a:extLst>
          </p:cNvPr>
          <p:cNvSpPr>
            <a:spLocks/>
          </p:cNvSpPr>
          <p:nvPr userDrawn="1"/>
        </p:nvSpPr>
        <p:spPr bwMode="auto">
          <a:xfrm>
            <a:off x="3976284" y="0"/>
            <a:ext cx="1730418" cy="3078170"/>
          </a:xfrm>
          <a:custGeom>
            <a:avLst/>
            <a:gdLst>
              <a:gd name="T0" fmla="*/ 929 w 929"/>
              <a:gd name="T1" fmla="*/ 0 h 1388"/>
              <a:gd name="T2" fmla="*/ 929 w 929"/>
              <a:gd name="T3" fmla="*/ 1082 h 1388"/>
              <a:gd name="T4" fmla="*/ 0 w 929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29" h="1388">
                <a:moveTo>
                  <a:pt x="929" y="0"/>
                </a:moveTo>
                <a:lnTo>
                  <a:pt x="929" y="1082"/>
                </a:lnTo>
                <a:lnTo>
                  <a:pt x="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6" name="Freeform 7">
            <a:extLst>
              <a:ext uri="{FF2B5EF4-FFF2-40B4-BE49-F238E27FC236}">
                <a16:creationId xmlns:a16="http://schemas.microsoft.com/office/drawing/2014/main" id="{D40E9CDA-1ACA-E041-B812-236FD98C20D7}"/>
              </a:ext>
            </a:extLst>
          </p:cNvPr>
          <p:cNvSpPr>
            <a:spLocks/>
          </p:cNvSpPr>
          <p:nvPr userDrawn="1"/>
        </p:nvSpPr>
        <p:spPr bwMode="auto">
          <a:xfrm>
            <a:off x="4624493" y="0"/>
            <a:ext cx="888493" cy="2118896"/>
          </a:xfrm>
          <a:custGeom>
            <a:avLst/>
            <a:gdLst>
              <a:gd name="T0" fmla="*/ 477 w 477"/>
              <a:gd name="T1" fmla="*/ 0 h 873"/>
              <a:gd name="T2" fmla="*/ 477 w 477"/>
              <a:gd name="T3" fmla="*/ 718 h 873"/>
              <a:gd name="T4" fmla="*/ 0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477" y="0"/>
                </a:moveTo>
                <a:lnTo>
                  <a:pt x="477" y="718"/>
                </a:lnTo>
                <a:lnTo>
                  <a:pt x="0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7" name="Freeform 8">
            <a:extLst>
              <a:ext uri="{FF2B5EF4-FFF2-40B4-BE49-F238E27FC236}">
                <a16:creationId xmlns:a16="http://schemas.microsoft.com/office/drawing/2014/main" id="{7762AB39-F508-D344-8C2F-AB8FD7A1D5F2}"/>
              </a:ext>
            </a:extLst>
          </p:cNvPr>
          <p:cNvSpPr>
            <a:spLocks/>
          </p:cNvSpPr>
          <p:nvPr userDrawn="1"/>
        </p:nvSpPr>
        <p:spPr bwMode="auto">
          <a:xfrm>
            <a:off x="6096001" y="0"/>
            <a:ext cx="1732281" cy="3078170"/>
          </a:xfrm>
          <a:custGeom>
            <a:avLst/>
            <a:gdLst>
              <a:gd name="T0" fmla="*/ 0 w 930"/>
              <a:gd name="T1" fmla="*/ 0 h 1388"/>
              <a:gd name="T2" fmla="*/ 0 w 930"/>
              <a:gd name="T3" fmla="*/ 1082 h 1388"/>
              <a:gd name="T4" fmla="*/ 930 w 930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30" h="1388">
                <a:moveTo>
                  <a:pt x="0" y="0"/>
                </a:moveTo>
                <a:lnTo>
                  <a:pt x="0" y="1082"/>
                </a:lnTo>
                <a:lnTo>
                  <a:pt x="93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8" name="Freeform 9">
            <a:extLst>
              <a:ext uri="{FF2B5EF4-FFF2-40B4-BE49-F238E27FC236}">
                <a16:creationId xmlns:a16="http://schemas.microsoft.com/office/drawing/2014/main" id="{9CFD4C92-9127-A049-99CB-792647B43E12}"/>
              </a:ext>
            </a:extLst>
          </p:cNvPr>
          <p:cNvSpPr>
            <a:spLocks/>
          </p:cNvSpPr>
          <p:nvPr userDrawn="1"/>
        </p:nvSpPr>
        <p:spPr bwMode="auto">
          <a:xfrm>
            <a:off x="6291580" y="0"/>
            <a:ext cx="888493" cy="2118896"/>
          </a:xfrm>
          <a:custGeom>
            <a:avLst/>
            <a:gdLst>
              <a:gd name="T0" fmla="*/ 0 w 477"/>
              <a:gd name="T1" fmla="*/ 0 h 873"/>
              <a:gd name="T2" fmla="*/ 0 w 477"/>
              <a:gd name="T3" fmla="*/ 718 h 873"/>
              <a:gd name="T4" fmla="*/ 477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0" y="0"/>
                </a:moveTo>
                <a:lnTo>
                  <a:pt x="0" y="718"/>
                </a:lnTo>
                <a:lnTo>
                  <a:pt x="477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8FADF14-32D5-FE4C-A88F-6D1272AEE35B}"/>
              </a:ext>
            </a:extLst>
          </p:cNvPr>
          <p:cNvSpPr txBox="1"/>
          <p:nvPr userDrawn="1"/>
        </p:nvSpPr>
        <p:spPr>
          <a:xfrm>
            <a:off x="8772198" y="3431598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E582CE6-3925-8F4A-831D-0E0B9994CE4C}"/>
              </a:ext>
            </a:extLst>
          </p:cNvPr>
          <p:cNvSpPr txBox="1"/>
          <p:nvPr userDrawn="1"/>
        </p:nvSpPr>
        <p:spPr>
          <a:xfrm>
            <a:off x="1803142" y="3425802"/>
            <a:ext cx="12298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  <a:p>
            <a:pPr algn="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4829DAB-EC0F-9649-B059-D3888AB1651A}"/>
              </a:ext>
            </a:extLst>
          </p:cNvPr>
          <p:cNvSpPr txBox="1"/>
          <p:nvPr userDrawn="1"/>
        </p:nvSpPr>
        <p:spPr>
          <a:xfrm>
            <a:off x="8488156" y="1557479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120266D-C9E3-F745-AD6D-12D7266276F5}"/>
              </a:ext>
            </a:extLst>
          </p:cNvPr>
          <p:cNvSpPr txBox="1"/>
          <p:nvPr userDrawn="1"/>
        </p:nvSpPr>
        <p:spPr>
          <a:xfrm>
            <a:off x="2196639" y="1674093"/>
            <a:ext cx="12298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848621-7C07-D34A-BE33-1EF83FAF6400}"/>
              </a:ext>
            </a:extLst>
          </p:cNvPr>
          <p:cNvSpPr txBox="1"/>
          <p:nvPr userDrawn="1"/>
        </p:nvSpPr>
        <p:spPr>
          <a:xfrm>
            <a:off x="5275448" y="4337306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20E319D-E753-7D4E-98E3-9BF343E8C288}"/>
              </a:ext>
            </a:extLst>
          </p:cNvPr>
          <p:cNvGrpSpPr/>
          <p:nvPr userDrawn="1"/>
        </p:nvGrpSpPr>
        <p:grpSpPr>
          <a:xfrm>
            <a:off x="4003289" y="1874208"/>
            <a:ext cx="603504" cy="603504"/>
            <a:chOff x="4040238" y="1899265"/>
            <a:chExt cx="603504" cy="60350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FE3ABF3-1F22-A049-B5F3-B22584F1B25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7D760A8-68CA-9B4C-9D16-119E376E76AB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FF1536A-772B-9C46-8515-1804B11A4C01}"/>
              </a:ext>
            </a:extLst>
          </p:cNvPr>
          <p:cNvGrpSpPr/>
          <p:nvPr userDrawn="1"/>
        </p:nvGrpSpPr>
        <p:grpSpPr>
          <a:xfrm>
            <a:off x="7180073" y="1874208"/>
            <a:ext cx="603504" cy="603504"/>
            <a:chOff x="4040238" y="1899265"/>
            <a:chExt cx="603504" cy="60350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DD558BC-3A52-6846-A716-92F6A446EF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860F66A-9728-1D49-BF2F-01958F68063E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5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B7D0BFE-E1C3-E346-A7F0-CCCA81DDF09A}"/>
              </a:ext>
            </a:extLst>
          </p:cNvPr>
          <p:cNvGrpSpPr/>
          <p:nvPr userDrawn="1"/>
        </p:nvGrpSpPr>
        <p:grpSpPr>
          <a:xfrm>
            <a:off x="3359644" y="2866213"/>
            <a:ext cx="603504" cy="603504"/>
            <a:chOff x="4040238" y="1899265"/>
            <a:chExt cx="603504" cy="603504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48C32FD-81B7-F446-898A-EB03B85720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AE85853-2B7C-134C-AF25-736DD69D88A0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2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4E268FA-2CD9-454F-AD41-89E4EF37A50C}"/>
              </a:ext>
            </a:extLst>
          </p:cNvPr>
          <p:cNvGrpSpPr/>
          <p:nvPr userDrawn="1"/>
        </p:nvGrpSpPr>
        <p:grpSpPr>
          <a:xfrm>
            <a:off x="5600861" y="3360678"/>
            <a:ext cx="603504" cy="603504"/>
            <a:chOff x="5600861" y="3360678"/>
            <a:chExt cx="603504" cy="603504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FB78B9EB-3CBF-1C41-BDB3-CBED717297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00861" y="3360678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7404141-F764-2940-B644-CF6B07EBB191}"/>
                </a:ext>
              </a:extLst>
            </p:cNvPr>
            <p:cNvSpPr txBox="1"/>
            <p:nvPr/>
          </p:nvSpPr>
          <p:spPr>
            <a:xfrm>
              <a:off x="5600861" y="3477764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3968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B6A2E89-D25D-CC4D-8670-915F29B8C960}"/>
              </a:ext>
            </a:extLst>
          </p:cNvPr>
          <p:cNvCxnSpPr/>
          <p:nvPr userDrawn="1"/>
        </p:nvCxnSpPr>
        <p:spPr>
          <a:xfrm flipV="1">
            <a:off x="3439920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A270986A-336D-CB4B-9477-803D75BEB89D}"/>
              </a:ext>
            </a:extLst>
          </p:cNvPr>
          <p:cNvSpPr/>
          <p:nvPr userDrawn="1"/>
        </p:nvSpPr>
        <p:spPr>
          <a:xfrm>
            <a:off x="2952069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3EBF0DF-9E15-3F42-A4C9-2E63F38D6094}"/>
              </a:ext>
            </a:extLst>
          </p:cNvPr>
          <p:cNvCxnSpPr/>
          <p:nvPr userDrawn="1"/>
        </p:nvCxnSpPr>
        <p:spPr>
          <a:xfrm flipV="1">
            <a:off x="1052279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10CE34E2-B7E7-BB40-A9FF-22100238E5A2}"/>
              </a:ext>
            </a:extLst>
          </p:cNvPr>
          <p:cNvSpPr/>
          <p:nvPr userDrawn="1"/>
        </p:nvSpPr>
        <p:spPr>
          <a:xfrm>
            <a:off x="1003494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0" name="Chevron 62">
            <a:extLst>
              <a:ext uri="{FF2B5EF4-FFF2-40B4-BE49-F238E27FC236}">
                <a16:creationId xmlns:a16="http://schemas.microsoft.com/office/drawing/2014/main" id="{32EC14E2-9A78-DF4B-B1FC-6A1DDC2139CA}"/>
              </a:ext>
            </a:extLst>
          </p:cNvPr>
          <p:cNvSpPr/>
          <p:nvPr userDrawn="1"/>
        </p:nvSpPr>
        <p:spPr>
          <a:xfrm>
            <a:off x="966014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7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695A626-3EFA-A74E-8FEF-911EB702B0FB}"/>
              </a:ext>
            </a:extLst>
          </p:cNvPr>
          <p:cNvCxnSpPr/>
          <p:nvPr userDrawn="1"/>
        </p:nvCxnSpPr>
        <p:spPr>
          <a:xfrm flipV="1">
            <a:off x="698135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51DFCA96-3CBA-374E-BAE6-D0F2689B7BBD}"/>
              </a:ext>
            </a:extLst>
          </p:cNvPr>
          <p:cNvSpPr/>
          <p:nvPr userDrawn="1"/>
        </p:nvSpPr>
        <p:spPr>
          <a:xfrm>
            <a:off x="649350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959900B-E3D6-154A-853E-F8CC65C2BD7F}"/>
              </a:ext>
            </a:extLst>
          </p:cNvPr>
          <p:cNvCxnSpPr/>
          <p:nvPr userDrawn="1"/>
        </p:nvCxnSpPr>
        <p:spPr>
          <a:xfrm flipV="1">
            <a:off x="166920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61708D4F-20B8-3E4D-940A-056EB94EF1E4}"/>
              </a:ext>
            </a:extLst>
          </p:cNvPr>
          <p:cNvSpPr/>
          <p:nvPr userDrawn="1"/>
        </p:nvSpPr>
        <p:spPr>
          <a:xfrm>
            <a:off x="118134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19834D4-CA3C-1443-B83C-877AE343E38D}"/>
              </a:ext>
            </a:extLst>
          </p:cNvPr>
          <p:cNvCxnSpPr/>
          <p:nvPr userDrawn="1"/>
        </p:nvCxnSpPr>
        <p:spPr>
          <a:xfrm flipV="1">
            <a:off x="8752079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2EFE9854-D393-9340-882F-01A84E08A2ED}"/>
              </a:ext>
            </a:extLst>
          </p:cNvPr>
          <p:cNvSpPr/>
          <p:nvPr userDrawn="1"/>
        </p:nvSpPr>
        <p:spPr>
          <a:xfrm>
            <a:off x="8264228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34A71BE-295C-6A47-B894-3E91A66B7240}"/>
              </a:ext>
            </a:extLst>
          </p:cNvPr>
          <p:cNvCxnSpPr/>
          <p:nvPr userDrawn="1"/>
        </p:nvCxnSpPr>
        <p:spPr>
          <a:xfrm flipV="1">
            <a:off x="521064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8756D37D-4BC0-A747-BDC2-56BB04C3F24D}"/>
              </a:ext>
            </a:extLst>
          </p:cNvPr>
          <p:cNvSpPr/>
          <p:nvPr userDrawn="1"/>
        </p:nvSpPr>
        <p:spPr>
          <a:xfrm>
            <a:off x="472278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0359BDE-A876-6E49-8686-6C00BE7739EC}"/>
              </a:ext>
            </a:extLst>
          </p:cNvPr>
          <p:cNvSpPr txBox="1"/>
          <p:nvPr userDrawn="1"/>
        </p:nvSpPr>
        <p:spPr>
          <a:xfrm>
            <a:off x="229204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CF29958-926C-FE4D-8E13-75E0A0C51770}"/>
              </a:ext>
            </a:extLst>
          </p:cNvPr>
          <p:cNvSpPr txBox="1"/>
          <p:nvPr userDrawn="1"/>
        </p:nvSpPr>
        <p:spPr>
          <a:xfrm>
            <a:off x="583348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2BE33C-7D85-A24D-B420-59D3A9D45F5B}"/>
              </a:ext>
            </a:extLst>
          </p:cNvPr>
          <p:cNvSpPr txBox="1"/>
          <p:nvPr userDrawn="1"/>
        </p:nvSpPr>
        <p:spPr>
          <a:xfrm>
            <a:off x="9374927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9F939A5-6C85-2047-AD6A-634D9B0FBE83}"/>
              </a:ext>
            </a:extLst>
          </p:cNvPr>
          <p:cNvSpPr txBox="1"/>
          <p:nvPr userDrawn="1"/>
        </p:nvSpPr>
        <p:spPr>
          <a:xfrm>
            <a:off x="823734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CC75A72-6937-4E43-BB48-DB75643ECEFC}"/>
              </a:ext>
            </a:extLst>
          </p:cNvPr>
          <p:cNvSpPr txBox="1"/>
          <p:nvPr userDrawn="1"/>
        </p:nvSpPr>
        <p:spPr>
          <a:xfrm>
            <a:off x="469590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AD5A797-7CD5-A441-9CBA-216C29F4CAB0}"/>
              </a:ext>
            </a:extLst>
          </p:cNvPr>
          <p:cNvSpPr txBox="1"/>
          <p:nvPr userDrawn="1"/>
        </p:nvSpPr>
        <p:spPr>
          <a:xfrm>
            <a:off x="1154466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0B32A09-DBC8-5342-8189-360C42692213}"/>
              </a:ext>
            </a:extLst>
          </p:cNvPr>
          <p:cNvSpPr txBox="1"/>
          <p:nvPr userDrawn="1"/>
        </p:nvSpPr>
        <p:spPr>
          <a:xfrm>
            <a:off x="6784882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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1164851-8ACA-6749-A277-CBABEB606BEA}"/>
              </a:ext>
            </a:extLst>
          </p:cNvPr>
          <p:cNvSpPr txBox="1"/>
          <p:nvPr userDrawn="1"/>
        </p:nvSpPr>
        <p:spPr>
          <a:xfrm>
            <a:off x="3243443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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B05D004-6866-6440-8850-03A4040F098C}"/>
              </a:ext>
            </a:extLst>
          </p:cNvPr>
          <p:cNvSpPr txBox="1"/>
          <p:nvPr userDrawn="1"/>
        </p:nvSpPr>
        <p:spPr>
          <a:xfrm>
            <a:off x="1472723" y="2260004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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A545981-348B-9B4A-A2A3-C676FF8DE27D}"/>
              </a:ext>
            </a:extLst>
          </p:cNvPr>
          <p:cNvSpPr txBox="1"/>
          <p:nvPr userDrawn="1"/>
        </p:nvSpPr>
        <p:spPr>
          <a:xfrm>
            <a:off x="5014163" y="2272880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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D139755-1508-004C-8037-053A6C1BE544}"/>
              </a:ext>
            </a:extLst>
          </p:cNvPr>
          <p:cNvSpPr txBox="1"/>
          <p:nvPr userDrawn="1"/>
        </p:nvSpPr>
        <p:spPr>
          <a:xfrm>
            <a:off x="8529851" y="2285755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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122B8FD-F117-1D4A-9E82-96B9D24F5771}"/>
              </a:ext>
            </a:extLst>
          </p:cNvPr>
          <p:cNvSpPr txBox="1"/>
          <p:nvPr userDrawn="1"/>
        </p:nvSpPr>
        <p:spPr>
          <a:xfrm>
            <a:off x="10326322" y="5102128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</a:t>
            </a:r>
          </a:p>
        </p:txBody>
      </p:sp>
      <p:sp>
        <p:nvSpPr>
          <p:cNvPr id="71" name="Chevron 53">
            <a:extLst>
              <a:ext uri="{FF2B5EF4-FFF2-40B4-BE49-F238E27FC236}">
                <a16:creationId xmlns:a16="http://schemas.microsoft.com/office/drawing/2014/main" id="{2B12885E-2898-9A47-93BD-37F13986545E}"/>
              </a:ext>
            </a:extLst>
          </p:cNvPr>
          <p:cNvSpPr/>
          <p:nvPr userDrawn="1"/>
        </p:nvSpPr>
        <p:spPr>
          <a:xfrm>
            <a:off x="7889420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6</a:t>
            </a:r>
          </a:p>
        </p:txBody>
      </p:sp>
      <p:sp>
        <p:nvSpPr>
          <p:cNvPr id="72" name="Chevron 54">
            <a:extLst>
              <a:ext uri="{FF2B5EF4-FFF2-40B4-BE49-F238E27FC236}">
                <a16:creationId xmlns:a16="http://schemas.microsoft.com/office/drawing/2014/main" id="{6C957690-5510-644B-BF57-EB1FAA22E103}"/>
              </a:ext>
            </a:extLst>
          </p:cNvPr>
          <p:cNvSpPr/>
          <p:nvPr userDrawn="1"/>
        </p:nvSpPr>
        <p:spPr>
          <a:xfrm>
            <a:off x="611870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5</a:t>
            </a:r>
          </a:p>
        </p:txBody>
      </p:sp>
      <p:sp>
        <p:nvSpPr>
          <p:cNvPr id="73" name="Chevron 55">
            <a:extLst>
              <a:ext uri="{FF2B5EF4-FFF2-40B4-BE49-F238E27FC236}">
                <a16:creationId xmlns:a16="http://schemas.microsoft.com/office/drawing/2014/main" id="{ADAEB6FD-D438-FF4C-92F3-EDBE1877FD40}"/>
              </a:ext>
            </a:extLst>
          </p:cNvPr>
          <p:cNvSpPr/>
          <p:nvPr userDrawn="1"/>
        </p:nvSpPr>
        <p:spPr>
          <a:xfrm>
            <a:off x="434798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4</a:t>
            </a:r>
          </a:p>
        </p:txBody>
      </p:sp>
      <p:sp>
        <p:nvSpPr>
          <p:cNvPr id="74" name="Chevron 60">
            <a:extLst>
              <a:ext uri="{FF2B5EF4-FFF2-40B4-BE49-F238E27FC236}">
                <a16:creationId xmlns:a16="http://schemas.microsoft.com/office/drawing/2014/main" id="{3F61A945-660F-314C-B1E6-89522B29A36A}"/>
              </a:ext>
            </a:extLst>
          </p:cNvPr>
          <p:cNvSpPr/>
          <p:nvPr userDrawn="1"/>
        </p:nvSpPr>
        <p:spPr>
          <a:xfrm>
            <a:off x="2577261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3</a:t>
            </a:r>
          </a:p>
        </p:txBody>
      </p:sp>
      <p:sp>
        <p:nvSpPr>
          <p:cNvPr id="75" name="Chevron 63">
            <a:extLst>
              <a:ext uri="{FF2B5EF4-FFF2-40B4-BE49-F238E27FC236}">
                <a16:creationId xmlns:a16="http://schemas.microsoft.com/office/drawing/2014/main" id="{6E2F945E-1FC1-D045-8296-EE65492AA9AA}"/>
              </a:ext>
            </a:extLst>
          </p:cNvPr>
          <p:cNvSpPr/>
          <p:nvPr userDrawn="1"/>
        </p:nvSpPr>
        <p:spPr>
          <a:xfrm>
            <a:off x="80654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28571-A04C-F442-9601-007856A4D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516"/>
            <a:ext cx="10515600" cy="73078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8081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lant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689E7F6-D2EF-6542-8BC8-868976C46C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92897" y="5025740"/>
            <a:ext cx="4352743" cy="76144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RIAL 40</a:t>
            </a:r>
          </a:p>
        </p:txBody>
      </p:sp>
    </p:spTree>
    <p:extLst>
      <p:ext uri="{BB962C8B-B14F-4D97-AF65-F5344CB8AC3E}">
        <p14:creationId xmlns:p14="http://schemas.microsoft.com/office/powerpoint/2010/main" val="567662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5240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Image Dataspher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-81192" y="-83584"/>
            <a:ext cx="2630663" cy="2628303"/>
          </a:xfrm>
          <a:prstGeom prst="ellipse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1892383" y="2114848"/>
            <a:ext cx="2630663" cy="2628303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 hasCustomPrompt="1"/>
          </p:nvPr>
        </p:nvSpPr>
        <p:spPr>
          <a:xfrm>
            <a:off x="4227789" y="789286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 hasCustomPrompt="1"/>
          </p:nvPr>
        </p:nvSpPr>
        <p:spPr>
          <a:xfrm>
            <a:off x="191505" y="4313281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4544027" y="3866021"/>
            <a:ext cx="1817016" cy="1829102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331936-CCB6-774F-9FAB-B9064684F5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1086" y="3046807"/>
            <a:ext cx="7165001" cy="797752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4156293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2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87366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Drag and Drop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64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0333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799959" cy="6858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rag / Drop / Send to Back</a:t>
            </a:r>
          </a:p>
        </p:txBody>
      </p:sp>
    </p:spTree>
    <p:extLst>
      <p:ext uri="{BB962C8B-B14F-4D97-AF65-F5344CB8AC3E}">
        <p14:creationId xmlns:p14="http://schemas.microsoft.com/office/powerpoint/2010/main" val="421559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645279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54011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291833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629428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549"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513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391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w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863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No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320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32535" y="1320801"/>
            <a:ext cx="2445225" cy="432939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98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1811583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91540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801922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340815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651197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950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736407" y="1760703"/>
            <a:ext cx="3048000" cy="30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289337" y="1778035"/>
            <a:ext cx="3048000" cy="30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8188591" y="1778035"/>
            <a:ext cx="3048000" cy="30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857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8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7254866" y="1893450"/>
            <a:ext cx="1952199" cy="35791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5189792" y="1893450"/>
            <a:ext cx="1952199" cy="35791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9325337" y="1893450"/>
            <a:ext cx="1952199" cy="35791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75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roject Sam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169941" y="1853428"/>
            <a:ext cx="2940891" cy="38885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543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8212043" y="1853428"/>
            <a:ext cx="2940891" cy="38885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311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Ai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329161" y="2119730"/>
            <a:ext cx="3492190" cy="4864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729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" y="1659486"/>
            <a:ext cx="12192000" cy="295888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870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0039578-2316-364B-9333-E7F5AD310F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273" y="-6227"/>
            <a:ext cx="12201273" cy="6864227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66725" y="5047931"/>
            <a:ext cx="6977581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l">
              <a:defRPr sz="48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5805" y="5324713"/>
            <a:ext cx="2307094" cy="7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424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Header&amp;Foo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522064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6235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7A38B8A-3C8A-4C1F-A324-12052FB706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05" y="1904003"/>
            <a:ext cx="5134809" cy="3962227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en-US" sz="1799"/>
            </a:lvl1pPr>
          </a:lstStyle>
          <a:p>
            <a:pPr marL="0" lv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26017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4">
            <a:extLst>
              <a:ext uri="{FF2B5EF4-FFF2-40B4-BE49-F238E27FC236}">
                <a16:creationId xmlns:a16="http://schemas.microsoft.com/office/drawing/2014/main" id="{63D0C033-8CCA-6C48-83C7-B9C3B83555CB}"/>
              </a:ext>
            </a:extLst>
          </p:cNvPr>
          <p:cNvSpPr>
            <a:spLocks noGrp="1"/>
          </p:cNvSpPr>
          <p:nvPr>
            <p:ph type="pic" sz="quarter" idx="87"/>
          </p:nvPr>
        </p:nvSpPr>
        <p:spPr>
          <a:xfrm>
            <a:off x="4248800" y="30996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1" name="Рисунок 4">
            <a:extLst>
              <a:ext uri="{FF2B5EF4-FFF2-40B4-BE49-F238E27FC236}">
                <a16:creationId xmlns:a16="http://schemas.microsoft.com/office/drawing/2014/main" id="{BFDB4887-8E18-6C47-886D-479784A571EE}"/>
              </a:ext>
            </a:extLst>
          </p:cNvPr>
          <p:cNvSpPr>
            <a:spLocks noGrp="1"/>
          </p:cNvSpPr>
          <p:nvPr>
            <p:ph type="pic" sz="quarter" idx="88"/>
          </p:nvPr>
        </p:nvSpPr>
        <p:spPr>
          <a:xfrm>
            <a:off x="6096000" y="23446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4" name="Рисунок 4">
            <a:extLst>
              <a:ext uri="{FF2B5EF4-FFF2-40B4-BE49-F238E27FC236}">
                <a16:creationId xmlns:a16="http://schemas.microsoft.com/office/drawing/2014/main" id="{AA7C80EB-FA6E-C941-8B1D-AB851438FA22}"/>
              </a:ext>
            </a:extLst>
          </p:cNvPr>
          <p:cNvSpPr>
            <a:spLocks noGrp="1"/>
          </p:cNvSpPr>
          <p:nvPr>
            <p:ph type="pic" sz="quarter" idx="89"/>
          </p:nvPr>
        </p:nvSpPr>
        <p:spPr>
          <a:xfrm>
            <a:off x="4248800" y="3477581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EEE0AAAD-E8F7-7043-AE31-53B2DE13AAB9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6096000" y="3470031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942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4" grpId="0"/>
      <p:bldP spid="15" grpId="0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30604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30604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Column_No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11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A8F415-8DC4-4D92-96F4-F549CFC93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6A04374-DFCE-4ACC-9D06-44A24E770F3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09768" y="1968500"/>
            <a:ext cx="10862917" cy="423862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25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hea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2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0"/>
              </a:spcBef>
              <a:defRPr lang="en-US" b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858972-ED82-44F8-8270-3B916FDC7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1075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oogle Shape;12;p1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750"/>
            <a:ext cx="12261793" cy="6895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13;p119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46212" y="6013519"/>
            <a:ext cx="2133259" cy="711981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4;p119"/>
          <p:cNvSpPr txBox="1"/>
          <p:nvPr/>
        </p:nvSpPr>
        <p:spPr>
          <a:xfrm>
            <a:off x="441440" y="2970425"/>
            <a:ext cx="10610463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200"/>
              <a:buFont typeface="Arial"/>
              <a:buNone/>
            </a:pPr>
            <a:endParaRPr sz="6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119"/>
          <p:cNvSpPr txBox="1"/>
          <p:nvPr/>
        </p:nvSpPr>
        <p:spPr>
          <a:xfrm>
            <a:off x="441440" y="3973425"/>
            <a:ext cx="10610463" cy="71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None/>
            </a:pPr>
            <a:endParaRPr sz="26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6;p119"/>
          <p:cNvSpPr txBox="1">
            <a:spLocks noGrp="1"/>
          </p:cNvSpPr>
          <p:nvPr>
            <p:ph type="title"/>
          </p:nvPr>
        </p:nvSpPr>
        <p:spPr>
          <a:xfrm>
            <a:off x="533389" y="2779454"/>
            <a:ext cx="11193515" cy="49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82745536"/>
      </p:ext>
    </p:extLst>
  </p:cSld>
  <p:clrMapOvr>
    <a:masterClrMapping/>
  </p:clrMapOvr>
  <p:transition spd="med">
    <p:fade thruBlk="1"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8230619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 userDrawn="1">
  <p:cSld name="1_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FBEFBA-C92F-412E-92FF-867B8E8BA29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0875" y="1765300"/>
            <a:ext cx="11277362" cy="45275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756762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_Subhead_Bubbles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gicon_transparent.png">
            <a:extLst>
              <a:ext uri="{FF2B5EF4-FFF2-40B4-BE49-F238E27FC236}">
                <a16:creationId xmlns:a16="http://schemas.microsoft.com/office/drawing/2014/main" id="{7EEF0077-41BB-A94A-BE05-AC34E8FA58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2552" y="6200574"/>
            <a:ext cx="391361" cy="331807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1E5AA8F-77CC-EF40-8B54-0FD03519F4E4}"/>
              </a:ext>
            </a:extLst>
          </p:cNvPr>
          <p:cNvCxnSpPr>
            <a:cxnSpLocks/>
          </p:cNvCxnSpPr>
          <p:nvPr userDrawn="1"/>
        </p:nvCxnSpPr>
        <p:spPr>
          <a:xfrm>
            <a:off x="11308468" y="6158129"/>
            <a:ext cx="0" cy="41668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2D562F8-031A-DB49-AA3E-DF6A1AD7A4AA}"/>
              </a:ext>
            </a:extLst>
          </p:cNvPr>
          <p:cNvSpPr txBox="1"/>
          <p:nvPr userDrawn="1"/>
        </p:nvSpPr>
        <p:spPr>
          <a:xfrm>
            <a:off x="9873496" y="6227978"/>
            <a:ext cx="13305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E012FD2-64B6-7E4B-8A57-CD17A44D8FA5}" type="slidenum">
              <a:rPr lang="en-US" sz="1200" b="0" i="0" smtClean="0">
                <a:solidFill>
                  <a:schemeClr val="bg1"/>
                </a:solidFill>
                <a:latin typeface="Helvetica Neue LT Std 45 Light" panose="020B0403020202020204" pitchFamily="34" charset="77"/>
                <a:ea typeface="Helvetica Neue Light" panose="02000403000000020004" pitchFamily="2" charset="0"/>
              </a:rPr>
              <a:pPr algn="r"/>
              <a:t>‹#›</a:t>
            </a:fld>
            <a:endParaRPr lang="en-US" sz="1400" b="0" i="0">
              <a:solidFill>
                <a:schemeClr val="bg1"/>
              </a:solidFill>
              <a:latin typeface="Helvetica Neue LT Std 45 Light" panose="020B0403020202020204" pitchFamily="34" charset="77"/>
              <a:ea typeface="Helvetica Neue Light" panose="02000403000000020004" pitchFamily="2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88675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ac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mp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2" dur="750" fill="hold"/>
                                        <p:tgtEl>
                                          <p:spTgt spid="14"/>
                                        </p:tgtEl>
                                      </p:cBhvr>
                                      <p:by x="100000" y="225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1A4754-18D1-3147-A7C8-3F89F4F6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505162"/>
            <a:ext cx="10972801" cy="681954"/>
          </a:xfrm>
          <a:prstGeom prst="rect">
            <a:avLst/>
          </a:prstGeom>
        </p:spPr>
        <p:txBody>
          <a:bodyPr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79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6"/>
            <a:ext cx="10972801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0181634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over Black">
  <p:cSld name="1_Cover Black">
    <p:bg>
      <p:bgPr>
        <a:solidFill>
          <a:schemeClr val="dk1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5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9272" y="-6227"/>
            <a:ext cx="12201273" cy="6864227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2"/>
          <p:cNvSpPr txBox="1">
            <a:spLocks noGrp="1"/>
          </p:cNvSpPr>
          <p:nvPr>
            <p:ph type="body" idx="1"/>
          </p:nvPr>
        </p:nvSpPr>
        <p:spPr>
          <a:xfrm>
            <a:off x="4266725" y="5047933"/>
            <a:ext cx="6977581" cy="10467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8725" rIns="217475" bIns="108725" anchor="t" anchorCtr="0">
            <a:noAutofit/>
          </a:bodyPr>
          <a:lstStyle>
            <a:lvl1pPr marL="457063" lvl="0" indent="-228531" algn="l">
              <a:lnSpc>
                <a:spcPct val="130000"/>
              </a:lnSpc>
              <a:spcBef>
                <a:spcPts val="96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799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" name="Google Shape;17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55806" y="5324715"/>
            <a:ext cx="2307094" cy="769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87296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head ">
  <p:cSld name="Title, Subhead ">
    <p:bg>
      <p:bgPr>
        <a:solidFill>
          <a:schemeClr val="dk1"/>
        </a:solid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4"/>
          <p:cNvSpPr txBox="1">
            <a:spLocks noGrp="1"/>
          </p:cNvSpPr>
          <p:nvPr>
            <p:ph type="body" idx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063" lvl="0" indent="-228531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None/>
              <a:defRPr b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609601" y="274639"/>
            <a:ext cx="10972801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17475" tIns="108725" rIns="217475" bIns="1087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999"/>
              <a:buFont typeface="Arial"/>
              <a:buNone/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80905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_Subhead_2Line_Bubbles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9;p120"/>
          <p:cNvSpPr txBox="1"/>
          <p:nvPr userDrawn="1"/>
        </p:nvSpPr>
        <p:spPr>
          <a:xfrm>
            <a:off x="11099569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77" tIns="45676" rIns="91377" bIns="4567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8" name="Google Shape;20;p120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0" name="Google Shape;22;p120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1" name="Google Shape;23;p120"/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1638083" y="6403043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391824"/>
            <a:ext cx="11505623" cy="823912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3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075030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Google Shape;41;p6"/>
          <p:cNvSpPr txBox="1"/>
          <p:nvPr userDrawn="1"/>
        </p:nvSpPr>
        <p:spPr>
          <a:xfrm>
            <a:off x="11099568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42;p6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" name="Google Shape;45;p6"/>
          <p:cNvPicPr preferRelativeResize="0"/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1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546538"/>
            <a:ext cx="11505623" cy="669198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4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7601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2" y="371343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28492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3_Cover Black">
    <p:bg>
      <p:bgPr>
        <a:solidFill>
          <a:schemeClr val="lt1"/>
        </a:solidFill>
        <a:effectLst/>
      </p:bgPr>
    </p:bg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Google Shape;53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Google Shape;54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4"/>
          <p:cNvSpPr txBox="1"/>
          <p:nvPr/>
        </p:nvSpPr>
        <p:spPr>
          <a:xfrm>
            <a:off x="441440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en" sz="1733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466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14"/>
          <p:cNvSpPr txBox="1"/>
          <p:nvPr/>
        </p:nvSpPr>
        <p:spPr>
          <a:xfrm>
            <a:off x="441441" y="2970425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00"/>
              <a:buFont typeface="Arial"/>
              <a:buNone/>
            </a:pPr>
            <a:endParaRPr sz="6265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14"/>
          <p:cNvSpPr txBox="1"/>
          <p:nvPr/>
        </p:nvSpPr>
        <p:spPr>
          <a:xfrm>
            <a:off x="441441" y="3973425"/>
            <a:ext cx="10610400" cy="7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666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71624959"/>
      </p:ext>
    </p:extLst>
  </p:cSld>
  <p:clrMapOvr>
    <a:masterClrMapping/>
  </p:clrMapOvr>
  <p:transition spd="med">
    <p:fade thruBlk="1"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Google Shape;128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8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9" name="Google Shape;129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0" name="Google Shape;130;p2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Google Shape;131;p2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2" name="Google Shape;132;p2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3" name="Google Shape;133;p23"/>
          <p:cNvSpPr txBox="1"/>
          <p:nvPr/>
        </p:nvSpPr>
        <p:spPr>
          <a:xfrm>
            <a:off x="10131214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4" name="Google Shape;134;p23"/>
          <p:cNvCxnSpPr/>
          <p:nvPr/>
        </p:nvCxnSpPr>
        <p:spPr>
          <a:xfrm>
            <a:off x="11099578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084160172"/>
      </p:ext>
    </p:extLst>
  </p:cSld>
  <p:clrMapOvr>
    <a:masterClrMapping/>
  </p:clrMapOvr>
  <p:transition spd="med">
    <p:fade thruBlk="1"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>
  <p:cSld name="Blank"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39"/>
          <p:cNvSpPr txBox="1"/>
          <p:nvPr/>
        </p:nvSpPr>
        <p:spPr>
          <a:xfrm>
            <a:off x="9070848" y="6572534"/>
            <a:ext cx="1292352" cy="143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" sz="933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933" b="0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660930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_No_Subhead">
  <p:cSld name="1-Column_No_Subhead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47"/>
          <p:cNvSpPr txBox="1">
            <a:spLocks noGrp="1"/>
          </p:cNvSpPr>
          <p:nvPr>
            <p:ph type="body" idx="1"/>
          </p:nvPr>
        </p:nvSpPr>
        <p:spPr>
          <a:xfrm>
            <a:off x="609603" y="6572514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32"/>
              <a:buNone/>
              <a:defRPr sz="932" b="0">
                <a:solidFill>
                  <a:schemeClr val="dk2"/>
                </a:solidFill>
              </a:defRPr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47"/>
          <p:cNvSpPr txBox="1">
            <a:spLocks noGrp="1"/>
          </p:cNvSpPr>
          <p:nvPr>
            <p:ph type="title"/>
          </p:nvPr>
        </p:nvSpPr>
        <p:spPr>
          <a:xfrm>
            <a:off x="609600" y="543340"/>
            <a:ext cx="10863325" cy="437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47"/>
          <p:cNvSpPr txBox="1">
            <a:spLocks noGrp="1"/>
          </p:cNvSpPr>
          <p:nvPr>
            <p:ph type="body" idx="2"/>
          </p:nvPr>
        </p:nvSpPr>
        <p:spPr>
          <a:xfrm>
            <a:off x="609759" y="1968502"/>
            <a:ext cx="10862917" cy="423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None/>
              <a:defRPr/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30117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6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24875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676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6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722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6233B29-20D2-4A24-8745-D16DA601205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3260" y="234869"/>
            <a:ext cx="1172548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</p:spTree>
    <p:extLst>
      <p:ext uri="{BB962C8B-B14F-4D97-AF65-F5344CB8AC3E}">
        <p14:creationId xmlns:p14="http://schemas.microsoft.com/office/powerpoint/2010/main" val="2888317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_Subhead_2Line_Bubbles" userDrawn="1">
  <p:cSld name="Header_Subhead_2Line_Bubbles">
    <p:bg>
      <p:bgPr>
        <a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41;p6"/>
          <p:cNvSpPr txBox="1"/>
          <p:nvPr userDrawn="1"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42;p6"/>
          <p:cNvCxnSpPr/>
          <p:nvPr userDrawn="1"/>
        </p:nvCxnSpPr>
        <p:spPr>
          <a:xfrm>
            <a:off x="11549144" y="6542002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" name="Google Shape;43;p6"/>
          <p:cNvSpPr txBox="1"/>
          <p:nvPr userDrawn="1"/>
        </p:nvSpPr>
        <p:spPr>
          <a:xfrm>
            <a:off x="9542140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4" name="Google Shape;45;p6"/>
          <p:cNvPicPr preferRelativeResize="0"/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0"/>
            <a:ext cx="413132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48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98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7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6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6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5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80" y="546539"/>
            <a:ext cx="11505622" cy="669199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2" y="391824"/>
            <a:ext cx="49721" cy="685800"/>
            <a:chOff x="579865" y="-277318"/>
            <a:chExt cx="49722" cy="179882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5189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yr OEM/Cloud 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7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8885" y="-56271"/>
            <a:ext cx="12267148" cy="6945149"/>
          </a:xfrm>
          <a:prstGeom prst="rect">
            <a:avLst/>
          </a:prstGeom>
        </p:spPr>
      </p:pic>
      <p:graphicFrame>
        <p:nvGraphicFramePr>
          <p:cNvPr id="3" name="Content Placeholder 4"/>
          <p:cNvGraphicFramePr>
            <a:graphicFrameLocks/>
          </p:cNvGraphicFramePr>
          <p:nvPr userDrawn="1"/>
        </p:nvGraphicFramePr>
        <p:xfrm>
          <a:off x="418754" y="1136026"/>
          <a:ext cx="11308077" cy="5276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76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33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72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50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84338">
                <a:tc rowSpan="2" gridSpan="4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0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1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2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3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4108">
                <a:tc gridSpan="4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6529">
                <a:tc rowSpan="4"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X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calabl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Responsiv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Innovative.</a:t>
                      </a:r>
                      <a:endParaRPr lang="en-US" sz="20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  <a:p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High</a:t>
                      </a:r>
                      <a:r>
                        <a:rPr lang="en-US" sz="12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Capacity</a:t>
                      </a:r>
                      <a:endParaRPr lang="en-US" sz="12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Single</a:t>
                      </a:r>
                      <a:r>
                        <a:rPr lang="en-US" sz="10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Actuation</a:t>
                      </a:r>
                      <a:endParaRPr lang="en-US" sz="10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Multi Actuation</a:t>
                      </a: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86465"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E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Trusted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Efficient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Versatile.</a:t>
                      </a:r>
                    </a:p>
                    <a:p>
                      <a:pPr algn="l"/>
                      <a:endParaRPr lang="en-US" sz="18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Traditional IT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64" marR="9146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8" y="1141957"/>
            <a:ext cx="1334945" cy="555717"/>
          </a:xfrm>
          <a:prstGeom prst="rect">
            <a:avLst/>
          </a:prstGeom>
        </p:spPr>
      </p:pic>
      <p:sp>
        <p:nvSpPr>
          <p:cNvPr id="6" name="Oval 5"/>
          <p:cNvSpPr/>
          <p:nvPr userDrawn="1"/>
        </p:nvSpPr>
        <p:spPr>
          <a:xfrm>
            <a:off x="10830737" y="1533200"/>
            <a:ext cx="110403" cy="105308"/>
          </a:xfrm>
          <a:prstGeom prst="ellipse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9174">
              <a:buClrTx/>
              <a:buFontTx/>
              <a:buNone/>
            </a:pPr>
            <a:endParaRPr lang="en-US" sz="1800" b="1" kern="1200">
              <a:solidFill>
                <a:srgbClr val="000000"/>
              </a:solidFill>
            </a:endParaRPr>
          </a:p>
        </p:txBody>
      </p:sp>
      <p:sp>
        <p:nvSpPr>
          <p:cNvPr id="68" name="Rectangle 67"/>
          <p:cNvSpPr/>
          <p:nvPr userDrawn="1"/>
        </p:nvSpPr>
        <p:spPr>
          <a:xfrm>
            <a:off x="410362" y="6485863"/>
            <a:ext cx="4892862" cy="235091"/>
          </a:xfrm>
          <a:prstGeom prst="rect">
            <a:avLst/>
          </a:prstGeom>
          <a:solidFill>
            <a:srgbClr val="F2F2F2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608462">
              <a:buClrTx/>
              <a:buFontTx/>
              <a:buNone/>
            </a:pPr>
            <a:endParaRPr lang="en-US" sz="900" b="1" kern="1200">
              <a:solidFill>
                <a:srgbClr val="000000"/>
              </a:solidFill>
            </a:endParaRP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Legend:                  CTU Declare             Pilot Program      z=ZBD/SMR </a:t>
            </a: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                </a:t>
            </a:r>
          </a:p>
        </p:txBody>
      </p:sp>
      <p:sp>
        <p:nvSpPr>
          <p:cNvPr id="69" name="Oval 68"/>
          <p:cNvSpPr/>
          <p:nvPr userDrawn="1"/>
        </p:nvSpPr>
        <p:spPr>
          <a:xfrm>
            <a:off x="1315258" y="6543410"/>
            <a:ext cx="120822" cy="120853"/>
          </a:xfrm>
          <a:prstGeom prst="ellipse">
            <a:avLst/>
          </a:prstGeom>
          <a:noFill/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70" name="Oval 69"/>
          <p:cNvSpPr/>
          <p:nvPr userDrawn="1"/>
        </p:nvSpPr>
        <p:spPr>
          <a:xfrm>
            <a:off x="2420350" y="6543410"/>
            <a:ext cx="120885" cy="120853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9" name="Picture 78" descr="sgicon_transparent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6839" y="6535655"/>
            <a:ext cx="324249" cy="274836"/>
          </a:xfrm>
          <a:prstGeom prst="rect">
            <a:avLst/>
          </a:prstGeom>
        </p:spPr>
      </p:pic>
      <p:sp>
        <p:nvSpPr>
          <p:cNvPr id="80" name="TextBox 79"/>
          <p:cNvSpPr txBox="1"/>
          <p:nvPr userDrawn="1"/>
        </p:nvSpPr>
        <p:spPr>
          <a:xfrm>
            <a:off x="11099569" y="6519527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buClrTx/>
              <a:buFontTx/>
              <a:buNone/>
              <a:defRPr/>
            </a:pPr>
            <a:fld id="{63EBF4A3-DF90-A145-ABFB-48E1A00C731F}" type="slidenum">
              <a:rPr lang="en-US" sz="800" smtClean="0">
                <a:solidFill>
                  <a:srgbClr val="FFFFFF"/>
                </a:solidFill>
                <a:ea typeface="+mn-ea"/>
                <a:cs typeface="+mn-cs"/>
              </a:rPr>
              <a:pPr algn="ctr" defTabSz="457200">
                <a:buClrTx/>
                <a:buFontTx/>
                <a:buNone/>
                <a:defRPr/>
              </a:pPr>
              <a:t>‹#›</a:t>
            </a:fld>
            <a:endParaRPr lang="en-US" sz="800">
              <a:solidFill>
                <a:srgbClr val="FFFFFF"/>
              </a:solidFill>
              <a:ea typeface="+mn-ea"/>
              <a:cs typeface="+mn-cs"/>
            </a:endParaRPr>
          </a:p>
        </p:txBody>
      </p:sp>
      <p:cxnSp>
        <p:nvCxnSpPr>
          <p:cNvPr id="81" name="Straight Connector 80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rgbClr val="E6E6E6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4179067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ivid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04705" y="2584534"/>
            <a:ext cx="11364384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spcBef>
                <a:spcPts val="0"/>
              </a:spcBef>
              <a:defRPr sz="64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ivider Slide Title, Title Cas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04093" y="3720398"/>
            <a:ext cx="11364698" cy="460868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title Goes Here, Title Case</a:t>
            </a:r>
          </a:p>
        </p:txBody>
      </p:sp>
      <p:pic>
        <p:nvPicPr>
          <p:cNvPr id="9" name="Picture 8" descr="sgicon_transparent.png"/>
          <p:cNvPicPr>
            <a:picLocks noChangeAspect="1"/>
          </p:cNvPicPr>
          <p:nvPr userDrawn="1"/>
        </p:nvPicPr>
        <p:blipFill>
          <a:blip r:embed="rId2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6846" y="6481337"/>
            <a:ext cx="324249" cy="274836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1" name="TextBox 10"/>
          <p:cNvSpPr txBox="1"/>
          <p:nvPr userDrawn="1"/>
        </p:nvSpPr>
        <p:spPr>
          <a:xfrm>
            <a:off x="11099567" y="6506275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268375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">
  <p:cSld name="1-Column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7"/>
          <p:cNvSpPr txBox="1">
            <a:spLocks noGrp="1"/>
          </p:cNvSpPr>
          <p:nvPr>
            <p:ph type="body" idx="1"/>
          </p:nvPr>
        </p:nvSpPr>
        <p:spPr>
          <a:xfrm>
            <a:off x="609603" y="1968797"/>
            <a:ext cx="10960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" name="Google Shape;83;p17"/>
          <p:cNvSpPr txBox="1">
            <a:spLocks noGrp="1"/>
          </p:cNvSpPr>
          <p:nvPr>
            <p:ph type="body" idx="2"/>
          </p:nvPr>
        </p:nvSpPr>
        <p:spPr>
          <a:xfrm>
            <a:off x="609606" y="6572513"/>
            <a:ext cx="8156000" cy="14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700"/>
              <a:buFont typeface="Arial"/>
              <a:buNone/>
              <a:defRPr sz="9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4" name="Google Shape;84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85;p17"/>
          <p:cNvSpPr txBox="1">
            <a:spLocks noGrp="1"/>
          </p:cNvSpPr>
          <p:nvPr>
            <p:ph type="body" idx="3"/>
          </p:nvPr>
        </p:nvSpPr>
        <p:spPr>
          <a:xfrm>
            <a:off x="609600" y="1170409"/>
            <a:ext cx="9753600" cy="3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Google Shape;86;p17"/>
          <p:cNvSpPr txBox="1">
            <a:spLocks noGrp="1"/>
          </p:cNvSpPr>
          <p:nvPr>
            <p:ph type="title"/>
          </p:nvPr>
        </p:nvSpPr>
        <p:spPr>
          <a:xfrm>
            <a:off x="619367" y="3"/>
            <a:ext cx="9744001" cy="10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Google Shape;87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2884651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3926" y="1670050"/>
            <a:ext cx="10344150" cy="42640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5707744" y="1297178"/>
            <a:ext cx="776519" cy="6398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652" tIns="22827" rIns="45652" bIns="22827" rtlCol="0" anchor="ctr"/>
          <a:lstStyle/>
          <a:p>
            <a:pPr algn="ctr"/>
            <a:endParaRPr lang="en-US" sz="1199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71936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31940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54865" y="1739141"/>
            <a:ext cx="345550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13512" y="1739141"/>
            <a:ext cx="345550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72159" y="1739141"/>
            <a:ext cx="345550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03653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5291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99647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01043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7A7EAEA-CF87-6B40-8257-CF9C6E7C75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02439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03872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658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>
            <a:lvl1pPr algn="ctr">
              <a:defRPr sz="1000"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463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799959" cy="6858000"/>
          </a:xfrm>
          <a:prstGeom prst="rect">
            <a:avLst/>
          </a:prstGeo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E20A4C-035A-9A47-8049-D59FEA5B12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4726" y="2318789"/>
            <a:ext cx="3732213" cy="222042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0508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72338" y="0"/>
            <a:ext cx="4247323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21966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8C6AEC0-A131-F54C-9FFC-C561BE034690}"/>
              </a:ext>
            </a:extLst>
          </p:cNvPr>
          <p:cNvSpPr txBox="1">
            <a:spLocks/>
          </p:cNvSpPr>
          <p:nvPr userDrawn="1"/>
        </p:nvSpPr>
        <p:spPr>
          <a:xfrm>
            <a:off x="4094921" y="4138640"/>
            <a:ext cx="3972339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C9B4040-BACE-3844-86C1-D47858F4F5CB}"/>
              </a:ext>
            </a:extLst>
          </p:cNvPr>
          <p:cNvSpPr txBox="1">
            <a:spLocks/>
          </p:cNvSpPr>
          <p:nvPr userDrawn="1"/>
        </p:nvSpPr>
        <p:spPr>
          <a:xfrm>
            <a:off x="4089951" y="4138640"/>
            <a:ext cx="3187147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3B2263D9-49BC-174E-9028-ED210D5AB886}"/>
              </a:ext>
            </a:extLst>
          </p:cNvPr>
          <p:cNvSpPr txBox="1">
            <a:spLocks/>
          </p:cNvSpPr>
          <p:nvPr userDrawn="1"/>
        </p:nvSpPr>
        <p:spPr>
          <a:xfrm>
            <a:off x="3996529" y="4853528"/>
            <a:ext cx="3373992" cy="5379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Open Sans Light"/>
              </a:defRPr>
            </a:lvl1pPr>
            <a:lvl2pPr marL="543505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1087009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630517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217402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989277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783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289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794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B6CFAC-DE40-2A49-8AB5-7476463CE97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450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4E169AF-5D67-CA47-A0CE-69C80D93C3B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178462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768A295-6D91-804D-AB7D-4F150F2D9A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6923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4CADA4-D39F-6443-97F6-AFB106C0E44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450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C8D13E3-F06F-7041-BE91-60BB06F91E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166888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9F9B074D-D5F5-3543-8913-F8C9D764959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56374" y="4851194"/>
            <a:ext cx="375498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6330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2FFB88-EC9B-4B92-9F41-562E94169B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8763BFF-5872-4E36-862F-82939CE2EF2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 cstate="print">
              <a:alphaModFix amt="43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rmAutofit/>
          </a:bodyPr>
          <a:lstStyle>
            <a:lvl1pPr algn="ctr">
              <a:defRPr sz="1799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EC3FE05-117B-854A-82A8-F19D64577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96140"/>
            <a:ext cx="10515600" cy="762174"/>
          </a:xfrm>
          <a:prstGeom prst="rect">
            <a:avLst/>
          </a:prstGeo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1128752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+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5FD6A7D7-BBFC-46D9-BD6F-3630418ED19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646864" y="0"/>
            <a:ext cx="5545136" cy="6858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E82905-E4DD-CC40-97AE-8641DAD28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98995"/>
            <a:ext cx="4588565" cy="132556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843735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E85F8F51-1C9B-4B44-BA73-D1A2CB4E80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12191999" cy="3784208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r="2359"/>
            </a:stretch>
          </a:blipFill>
        </p:spPr>
        <p:txBody>
          <a:bodyPr vert="horz" lIns="91440" tIns="45720" rIns="91440" bIns="45720" rtlCol="0">
            <a:normAutofit/>
          </a:bodyPr>
          <a:lstStyle>
            <a:lvl1pPr algn="ctr">
              <a:defRPr lang="en-US" sz="1799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89F5119-43B2-3247-9069-5ED3B058975C}"/>
              </a:ext>
            </a:extLst>
          </p:cNvPr>
          <p:cNvSpPr txBox="1"/>
          <p:nvPr userDrawn="1"/>
        </p:nvSpPr>
        <p:spPr>
          <a:xfrm>
            <a:off x="1881052" y="4901204"/>
            <a:ext cx="23601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>
                <a:solidFill>
                  <a:schemeClr val="bg1"/>
                </a:solidFill>
                <a:latin typeface="+mj-lt"/>
              </a:rPr>
              <a:t>ARIAL 40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6D87A55-D413-1049-ABD0-5D7F87221D68}"/>
              </a:ext>
            </a:extLst>
          </p:cNvPr>
          <p:cNvSpPr/>
          <p:nvPr userDrawn="1"/>
        </p:nvSpPr>
        <p:spPr>
          <a:xfrm>
            <a:off x="1544596" y="5156293"/>
            <a:ext cx="206540" cy="20654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/>
            </a:endParaRP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7ACFACF9-DD67-3F4C-B9D9-F4FD25170B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21359" y="4609399"/>
            <a:ext cx="5776294" cy="1093787"/>
          </a:xfrm>
          <a:prstGeom prst="rect">
            <a:avLst/>
          </a:prstGeom>
        </p:spPr>
        <p:txBody>
          <a:bodyPr/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5908705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AEDCD491-7B04-4A5E-975C-94607A7031F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00770" y="-8"/>
            <a:ext cx="6091231" cy="3300412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799"/>
            </a:lvl1pPr>
          </a:lstStyle>
          <a:p>
            <a:pPr marL="0" lvl="0" indent="0">
              <a:buNone/>
            </a:pPr>
            <a:r>
              <a:rPr lang="en-US"/>
              <a:t>Click Icon to Change Photo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3629CCC8-B845-4CF7-93E5-FADCF3BFBC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-8"/>
            <a:ext cx="6100769" cy="3300412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799"/>
            </a:lvl1pPr>
          </a:lstStyle>
          <a:p>
            <a:pPr marL="0" lvl="0" indent="0">
              <a:buNone/>
            </a:pPr>
            <a:r>
              <a:rPr lang="en-US"/>
              <a:t>Click Icon to Change Phot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9BD1019-6DE8-224E-9965-F947CEE8F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4792" y="3412926"/>
            <a:ext cx="3425254" cy="381375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89BA1BE-CC15-1B48-B94A-D536459B45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16251" y="4231838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138901D1-EDB0-BB45-998F-7D756253BF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1272" y="4877844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B53C5B0-0511-764B-9818-C22F323DFD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69811" y="4231838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20C9A8F2-2702-0D49-BEAB-24F408308A8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54832" y="4877844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3AF5E2-A761-6144-A007-72AC2FC28AD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421563" y="3413125"/>
            <a:ext cx="3425825" cy="381176"/>
          </a:xfrm>
          <a:prstGeom prst="rect">
            <a:avLst/>
          </a:prstGeom>
        </p:spPr>
        <p:txBody>
          <a:bodyPr anchor="ctr"/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391570090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+ Content Gri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3896410" cy="3428996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 hasCustomPrompt="1"/>
          </p:nvPr>
        </p:nvSpPr>
        <p:spPr>
          <a:xfrm>
            <a:off x="3916287" y="3428997"/>
            <a:ext cx="3956706" cy="342097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7892125" y="-1935"/>
            <a:ext cx="4299876" cy="3428996"/>
          </a:xfrm>
          <a:prstGeom prst="rect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id-ID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DA256D9-E171-584A-A056-2CDE62F86F54}"/>
              </a:ext>
            </a:extLst>
          </p:cNvPr>
          <p:cNvSpPr/>
          <p:nvPr/>
        </p:nvSpPr>
        <p:spPr>
          <a:xfrm>
            <a:off x="5820194" y="93653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1F988B-95B2-0F41-B509-46D2185FD2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0090" y="133099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34465F0-AAD5-2641-9954-3B6DC6D607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5111" y="190755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B873057-9D46-3445-9E3A-C036B4796A50}"/>
              </a:ext>
            </a:extLst>
          </p:cNvPr>
          <p:cNvSpPr/>
          <p:nvPr userDrawn="1"/>
        </p:nvSpPr>
        <p:spPr>
          <a:xfrm>
            <a:off x="1917428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24912F3-5F88-2F4F-8431-A637B459D1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7324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C069D62-C773-5F4C-A228-C8061D7CD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2345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038E26D-F877-0240-9507-DA27C78FD74B}"/>
              </a:ext>
            </a:extLst>
          </p:cNvPr>
          <p:cNvSpPr/>
          <p:nvPr userDrawn="1"/>
        </p:nvSpPr>
        <p:spPr>
          <a:xfrm>
            <a:off x="10057575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EACD3D0-A27A-B14E-8A1F-10B935F12B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87471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5BAB2EAA-8AB6-9D43-8F6D-345D513DF8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72492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128540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 + Conten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val 25">
            <a:extLst>
              <a:ext uri="{FF2B5EF4-FFF2-40B4-BE49-F238E27FC236}">
                <a16:creationId xmlns:a16="http://schemas.microsoft.com/office/drawing/2014/main" id="{B53D3BA0-FFB2-F142-8B78-89C6BBCC7B73}"/>
              </a:ext>
            </a:extLst>
          </p:cNvPr>
          <p:cNvSpPr/>
          <p:nvPr userDrawn="1"/>
        </p:nvSpPr>
        <p:spPr>
          <a:xfrm>
            <a:off x="2162594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7E1406B-0B0E-B245-8650-E94BCBE997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2490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9FE6C80D-0441-FB4E-A161-FE53A7B70F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7511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3C60729-DA93-AA4B-A8A5-F5F97051F7C2}"/>
              </a:ext>
            </a:extLst>
          </p:cNvPr>
          <p:cNvSpPr/>
          <p:nvPr userDrawn="1"/>
        </p:nvSpPr>
        <p:spPr>
          <a:xfrm>
            <a:off x="2162594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F150151-68FA-C644-A144-79CA9B1B943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1392490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3092E41E-50E9-5545-A36B-F0DE5B3C3FB4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477511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65CAE8-5CF4-7045-91ED-E8C12AE59741}"/>
              </a:ext>
            </a:extLst>
          </p:cNvPr>
          <p:cNvSpPr/>
          <p:nvPr userDrawn="1"/>
        </p:nvSpPr>
        <p:spPr>
          <a:xfrm>
            <a:off x="10084081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C375E08-091F-7340-B9B7-C2C3CF326179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9313977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B4471DD-9484-E84C-969B-7B070770AA17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>
          <a:xfrm>
            <a:off x="8398998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28752F7-ECC1-144E-8FEC-1C4E4E12F7D1}"/>
              </a:ext>
            </a:extLst>
          </p:cNvPr>
          <p:cNvSpPr/>
          <p:nvPr userDrawn="1"/>
        </p:nvSpPr>
        <p:spPr>
          <a:xfrm>
            <a:off x="10084081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ABBF111-8A51-D343-A1B5-F0E2106E8081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313977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979E147C-32E7-F049-A2C1-AA7010606F4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8398998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Рисунок 4">
            <a:extLst>
              <a:ext uri="{FF2B5EF4-FFF2-40B4-BE49-F238E27FC236}">
                <a16:creationId xmlns:a16="http://schemas.microsoft.com/office/drawing/2014/main" id="{ED79AA77-FDFA-5B4C-84F9-3E8CD5D6B297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4239374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9" name="Рисунок 4">
            <a:extLst>
              <a:ext uri="{FF2B5EF4-FFF2-40B4-BE49-F238E27FC236}">
                <a16:creationId xmlns:a16="http://schemas.microsoft.com/office/drawing/2014/main" id="{EF41D5EF-FBA6-5040-9E08-674A4815AACE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6107573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0" name="Рисунок 4">
            <a:extLst>
              <a:ext uri="{FF2B5EF4-FFF2-40B4-BE49-F238E27FC236}">
                <a16:creationId xmlns:a16="http://schemas.microsoft.com/office/drawing/2014/main" id="{B77BD9E3-621D-6C4F-B3D9-913E268DF3A1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4238640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1" name="Рисунок 4">
            <a:extLst>
              <a:ext uri="{FF2B5EF4-FFF2-40B4-BE49-F238E27FC236}">
                <a16:creationId xmlns:a16="http://schemas.microsoft.com/office/drawing/2014/main" id="{04E76A11-720B-4143-875B-9856B63830B5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6107573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941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21" grpId="0"/>
    </p:bld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Рисунок 4"/>
          <p:cNvSpPr>
            <a:spLocks noGrp="1"/>
          </p:cNvSpPr>
          <p:nvPr>
            <p:ph type="pic" sz="quarter" idx="86" hasCustomPrompt="1"/>
          </p:nvPr>
        </p:nvSpPr>
        <p:spPr>
          <a:xfrm>
            <a:off x="1" y="-12699"/>
            <a:ext cx="6096004" cy="230028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42" hasCustomPrompt="1"/>
          </p:nvPr>
        </p:nvSpPr>
        <p:spPr>
          <a:xfrm>
            <a:off x="7236238" y="711201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bg2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36238" y="2997200"/>
            <a:ext cx="3973591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61" name="Рисунок 4"/>
          <p:cNvSpPr>
            <a:spLocks noGrp="1"/>
          </p:cNvSpPr>
          <p:nvPr>
            <p:ph type="pic" sz="quarter" idx="87" hasCustomPrompt="1"/>
          </p:nvPr>
        </p:nvSpPr>
        <p:spPr>
          <a:xfrm>
            <a:off x="0" y="2301877"/>
            <a:ext cx="6096001" cy="2257423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62" name="Рисунок 4"/>
          <p:cNvSpPr>
            <a:spLocks noGrp="1"/>
          </p:cNvSpPr>
          <p:nvPr>
            <p:ph type="pic" sz="quarter" idx="88" hasCustomPrompt="1"/>
          </p:nvPr>
        </p:nvSpPr>
        <p:spPr>
          <a:xfrm>
            <a:off x="1" y="4575776"/>
            <a:ext cx="6096004" cy="2285999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E102A259-5898-8344-85DB-368A545EF8C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7236238" y="5372653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3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</p:spTree>
    <p:extLst>
      <p:ext uri="{BB962C8B-B14F-4D97-AF65-F5344CB8AC3E}">
        <p14:creationId xmlns:p14="http://schemas.microsoft.com/office/powerpoint/2010/main" val="1614678558"/>
      </p:ext>
    </p:extLst>
  </p:cSld>
  <p:clrMapOvr>
    <a:masterClrMapping/>
  </p:clrMapOvr>
  <p:transition spd="slow"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29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1" grpId="0"/>
      <p:bldP spid="62" grpId="0"/>
      <p:bldP spid="10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22780F7E-14BA-8E49-A8BF-D4CF3F8FDBC5}"/>
              </a:ext>
            </a:extLst>
          </p:cNvPr>
          <p:cNvSpPr/>
          <p:nvPr userDrawn="1"/>
        </p:nvSpPr>
        <p:spPr>
          <a:xfrm>
            <a:off x="671496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2FB1EAD-2AB5-AA45-90E7-4B340FEA7E2C}"/>
              </a:ext>
            </a:extLst>
          </p:cNvPr>
          <p:cNvSpPr/>
          <p:nvPr userDrawn="1"/>
        </p:nvSpPr>
        <p:spPr>
          <a:xfrm>
            <a:off x="3384041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D75D7B-C466-B84B-94C2-0CF10FCD8F80}"/>
              </a:ext>
            </a:extLst>
          </p:cNvPr>
          <p:cNvSpPr/>
          <p:nvPr userDrawn="1"/>
        </p:nvSpPr>
        <p:spPr>
          <a:xfrm>
            <a:off x="6095417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1A1FE36-0985-7C4B-98B1-FFCCB18E24A5}"/>
              </a:ext>
            </a:extLst>
          </p:cNvPr>
          <p:cNvSpPr/>
          <p:nvPr userDrawn="1"/>
        </p:nvSpPr>
        <p:spPr>
          <a:xfrm>
            <a:off x="8807963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18EB5CCF-6D0A-FB4F-9500-5E56D6E98AE1}"/>
              </a:ext>
            </a:extLst>
          </p:cNvPr>
          <p:cNvSpPr/>
          <p:nvPr userDrawn="1"/>
        </p:nvSpPr>
        <p:spPr>
          <a:xfrm>
            <a:off x="672910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8D09E69B-F3E2-304D-A678-39F1C8A98719}"/>
              </a:ext>
            </a:extLst>
          </p:cNvPr>
          <p:cNvSpPr/>
          <p:nvPr userDrawn="1"/>
        </p:nvSpPr>
        <p:spPr>
          <a:xfrm rot="10800000">
            <a:off x="3385455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37D1F4E7-0014-6746-AD44-B94638EDBEA9}"/>
              </a:ext>
            </a:extLst>
          </p:cNvPr>
          <p:cNvSpPr/>
          <p:nvPr userDrawn="1"/>
        </p:nvSpPr>
        <p:spPr>
          <a:xfrm>
            <a:off x="6096831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D4B4744D-4168-4E4C-A83C-2E26E17D6BD5}"/>
              </a:ext>
            </a:extLst>
          </p:cNvPr>
          <p:cNvSpPr/>
          <p:nvPr userDrawn="1"/>
        </p:nvSpPr>
        <p:spPr>
          <a:xfrm rot="10800000">
            <a:off x="8809376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E05944-BC6B-AF4C-B1A6-522E0049645E}"/>
              </a:ext>
            </a:extLst>
          </p:cNvPr>
          <p:cNvSpPr txBox="1"/>
          <p:nvPr userDrawn="1"/>
        </p:nvSpPr>
        <p:spPr>
          <a:xfrm>
            <a:off x="129263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91CEA4-E78F-5E4A-A0EA-DF5BC9D379C4}"/>
              </a:ext>
            </a:extLst>
          </p:cNvPr>
          <p:cNvSpPr txBox="1"/>
          <p:nvPr userDrawn="1"/>
        </p:nvSpPr>
        <p:spPr>
          <a:xfrm>
            <a:off x="545428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6E816E-AE03-8A4C-9BAB-2728DD64C914}"/>
              </a:ext>
            </a:extLst>
          </p:cNvPr>
          <p:cNvSpPr txBox="1"/>
          <p:nvPr userDrawn="1"/>
        </p:nvSpPr>
        <p:spPr>
          <a:xfrm>
            <a:off x="4005177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D6AE0A-CD66-CF44-AFAA-AA50992AF2C2}"/>
              </a:ext>
            </a:extLst>
          </p:cNvPr>
          <p:cNvSpPr txBox="1"/>
          <p:nvPr userDrawn="1"/>
        </p:nvSpPr>
        <p:spPr>
          <a:xfrm>
            <a:off x="3257973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72C1AD-8395-C140-8058-2EE2956849B9}"/>
              </a:ext>
            </a:extLst>
          </p:cNvPr>
          <p:cNvSpPr txBox="1"/>
          <p:nvPr userDrawn="1"/>
        </p:nvSpPr>
        <p:spPr>
          <a:xfrm>
            <a:off x="671655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9D9995-D460-EA40-A0DE-38D420CC1619}"/>
              </a:ext>
            </a:extLst>
          </p:cNvPr>
          <p:cNvSpPr txBox="1"/>
          <p:nvPr userDrawn="1"/>
        </p:nvSpPr>
        <p:spPr>
          <a:xfrm>
            <a:off x="5969349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5976319-08C3-794E-91B9-34065101689B}"/>
              </a:ext>
            </a:extLst>
          </p:cNvPr>
          <p:cNvSpPr txBox="1"/>
          <p:nvPr userDrawn="1"/>
        </p:nvSpPr>
        <p:spPr>
          <a:xfrm>
            <a:off x="9429099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5A1571-34BA-F941-BF9F-71AE225C4EDF}"/>
              </a:ext>
            </a:extLst>
          </p:cNvPr>
          <p:cNvSpPr txBox="1"/>
          <p:nvPr userDrawn="1"/>
        </p:nvSpPr>
        <p:spPr>
          <a:xfrm>
            <a:off x="8681895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0452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563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410633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270B783-4DF7-FE4D-8E34-A74A81811F13}"/>
              </a:ext>
            </a:extLst>
          </p:cNvPr>
          <p:cNvGrpSpPr/>
          <p:nvPr userDrawn="1"/>
        </p:nvGrpSpPr>
        <p:grpSpPr>
          <a:xfrm>
            <a:off x="7783577" y="2864690"/>
            <a:ext cx="603504" cy="603504"/>
            <a:chOff x="4040238" y="1899265"/>
            <a:chExt cx="603504" cy="603504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5CC7CFDA-5097-AC4C-9922-EB8EC3B735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7EF06CD-382F-4B4E-B02C-9E8B4EA3D3B3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24" name="Line 5">
            <a:extLst>
              <a:ext uri="{FF2B5EF4-FFF2-40B4-BE49-F238E27FC236}">
                <a16:creationId xmlns:a16="http://schemas.microsoft.com/office/drawing/2014/main" id="{6E274D75-7561-684D-AAE5-BA6FAD86995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902282" y="1"/>
            <a:ext cx="1" cy="3331493"/>
          </a:xfrm>
          <a:prstGeom prst="line">
            <a:avLst/>
          </a:prstGeom>
          <a:noFill/>
          <a:ln w="1143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5" name="Freeform 6">
            <a:extLst>
              <a:ext uri="{FF2B5EF4-FFF2-40B4-BE49-F238E27FC236}">
                <a16:creationId xmlns:a16="http://schemas.microsoft.com/office/drawing/2014/main" id="{DC9DEA8B-05F5-1945-A9BA-14753C45955D}"/>
              </a:ext>
            </a:extLst>
          </p:cNvPr>
          <p:cNvSpPr>
            <a:spLocks/>
          </p:cNvSpPr>
          <p:nvPr userDrawn="1"/>
        </p:nvSpPr>
        <p:spPr bwMode="auto">
          <a:xfrm>
            <a:off x="3976284" y="0"/>
            <a:ext cx="1730418" cy="3078170"/>
          </a:xfrm>
          <a:custGeom>
            <a:avLst/>
            <a:gdLst>
              <a:gd name="T0" fmla="*/ 929 w 929"/>
              <a:gd name="T1" fmla="*/ 0 h 1388"/>
              <a:gd name="T2" fmla="*/ 929 w 929"/>
              <a:gd name="T3" fmla="*/ 1082 h 1388"/>
              <a:gd name="T4" fmla="*/ 0 w 929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29" h="1388">
                <a:moveTo>
                  <a:pt x="929" y="0"/>
                </a:moveTo>
                <a:lnTo>
                  <a:pt x="929" y="1082"/>
                </a:lnTo>
                <a:lnTo>
                  <a:pt x="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6" name="Freeform 7">
            <a:extLst>
              <a:ext uri="{FF2B5EF4-FFF2-40B4-BE49-F238E27FC236}">
                <a16:creationId xmlns:a16="http://schemas.microsoft.com/office/drawing/2014/main" id="{D40E9CDA-1ACA-E041-B812-236FD98C20D7}"/>
              </a:ext>
            </a:extLst>
          </p:cNvPr>
          <p:cNvSpPr>
            <a:spLocks/>
          </p:cNvSpPr>
          <p:nvPr userDrawn="1"/>
        </p:nvSpPr>
        <p:spPr bwMode="auto">
          <a:xfrm>
            <a:off x="4624493" y="0"/>
            <a:ext cx="888493" cy="2118896"/>
          </a:xfrm>
          <a:custGeom>
            <a:avLst/>
            <a:gdLst>
              <a:gd name="T0" fmla="*/ 477 w 477"/>
              <a:gd name="T1" fmla="*/ 0 h 873"/>
              <a:gd name="T2" fmla="*/ 477 w 477"/>
              <a:gd name="T3" fmla="*/ 718 h 873"/>
              <a:gd name="T4" fmla="*/ 0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477" y="0"/>
                </a:moveTo>
                <a:lnTo>
                  <a:pt x="477" y="718"/>
                </a:lnTo>
                <a:lnTo>
                  <a:pt x="0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7" name="Freeform 8">
            <a:extLst>
              <a:ext uri="{FF2B5EF4-FFF2-40B4-BE49-F238E27FC236}">
                <a16:creationId xmlns:a16="http://schemas.microsoft.com/office/drawing/2014/main" id="{7762AB39-F508-D344-8C2F-AB8FD7A1D5F2}"/>
              </a:ext>
            </a:extLst>
          </p:cNvPr>
          <p:cNvSpPr>
            <a:spLocks/>
          </p:cNvSpPr>
          <p:nvPr userDrawn="1"/>
        </p:nvSpPr>
        <p:spPr bwMode="auto">
          <a:xfrm>
            <a:off x="6096001" y="0"/>
            <a:ext cx="1732281" cy="3078170"/>
          </a:xfrm>
          <a:custGeom>
            <a:avLst/>
            <a:gdLst>
              <a:gd name="T0" fmla="*/ 0 w 930"/>
              <a:gd name="T1" fmla="*/ 0 h 1388"/>
              <a:gd name="T2" fmla="*/ 0 w 930"/>
              <a:gd name="T3" fmla="*/ 1082 h 1388"/>
              <a:gd name="T4" fmla="*/ 930 w 930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30" h="1388">
                <a:moveTo>
                  <a:pt x="0" y="0"/>
                </a:moveTo>
                <a:lnTo>
                  <a:pt x="0" y="1082"/>
                </a:lnTo>
                <a:lnTo>
                  <a:pt x="93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8" name="Freeform 9">
            <a:extLst>
              <a:ext uri="{FF2B5EF4-FFF2-40B4-BE49-F238E27FC236}">
                <a16:creationId xmlns:a16="http://schemas.microsoft.com/office/drawing/2014/main" id="{9CFD4C92-9127-A049-99CB-792647B43E12}"/>
              </a:ext>
            </a:extLst>
          </p:cNvPr>
          <p:cNvSpPr>
            <a:spLocks/>
          </p:cNvSpPr>
          <p:nvPr userDrawn="1"/>
        </p:nvSpPr>
        <p:spPr bwMode="auto">
          <a:xfrm>
            <a:off x="6291580" y="0"/>
            <a:ext cx="888493" cy="2118896"/>
          </a:xfrm>
          <a:custGeom>
            <a:avLst/>
            <a:gdLst>
              <a:gd name="T0" fmla="*/ 0 w 477"/>
              <a:gd name="T1" fmla="*/ 0 h 873"/>
              <a:gd name="T2" fmla="*/ 0 w 477"/>
              <a:gd name="T3" fmla="*/ 718 h 873"/>
              <a:gd name="T4" fmla="*/ 477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0" y="0"/>
                </a:moveTo>
                <a:lnTo>
                  <a:pt x="0" y="718"/>
                </a:lnTo>
                <a:lnTo>
                  <a:pt x="477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8FADF14-32D5-FE4C-A88F-6D1272AEE35B}"/>
              </a:ext>
            </a:extLst>
          </p:cNvPr>
          <p:cNvSpPr txBox="1"/>
          <p:nvPr userDrawn="1"/>
        </p:nvSpPr>
        <p:spPr>
          <a:xfrm>
            <a:off x="8772198" y="3431598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E582CE6-3925-8F4A-831D-0E0B9994CE4C}"/>
              </a:ext>
            </a:extLst>
          </p:cNvPr>
          <p:cNvSpPr txBox="1"/>
          <p:nvPr userDrawn="1"/>
        </p:nvSpPr>
        <p:spPr>
          <a:xfrm>
            <a:off x="1803142" y="3425802"/>
            <a:ext cx="12298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  <a:p>
            <a:pPr algn="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4829DAB-EC0F-9649-B059-D3888AB1651A}"/>
              </a:ext>
            </a:extLst>
          </p:cNvPr>
          <p:cNvSpPr txBox="1"/>
          <p:nvPr userDrawn="1"/>
        </p:nvSpPr>
        <p:spPr>
          <a:xfrm>
            <a:off x="8488156" y="1557479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120266D-C9E3-F745-AD6D-12D7266276F5}"/>
              </a:ext>
            </a:extLst>
          </p:cNvPr>
          <p:cNvSpPr txBox="1"/>
          <p:nvPr userDrawn="1"/>
        </p:nvSpPr>
        <p:spPr>
          <a:xfrm>
            <a:off x="2196639" y="1674093"/>
            <a:ext cx="12298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848621-7C07-D34A-BE33-1EF83FAF6400}"/>
              </a:ext>
            </a:extLst>
          </p:cNvPr>
          <p:cNvSpPr txBox="1"/>
          <p:nvPr userDrawn="1"/>
        </p:nvSpPr>
        <p:spPr>
          <a:xfrm>
            <a:off x="5275448" y="4337306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20E319D-E753-7D4E-98E3-9BF343E8C288}"/>
              </a:ext>
            </a:extLst>
          </p:cNvPr>
          <p:cNvGrpSpPr/>
          <p:nvPr userDrawn="1"/>
        </p:nvGrpSpPr>
        <p:grpSpPr>
          <a:xfrm>
            <a:off x="4003289" y="1874208"/>
            <a:ext cx="603504" cy="603504"/>
            <a:chOff x="4040238" y="1899265"/>
            <a:chExt cx="603504" cy="60350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FE3ABF3-1F22-A049-B5F3-B22584F1B25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7D760A8-68CA-9B4C-9D16-119E376E76AB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FF1536A-772B-9C46-8515-1804B11A4C01}"/>
              </a:ext>
            </a:extLst>
          </p:cNvPr>
          <p:cNvGrpSpPr/>
          <p:nvPr userDrawn="1"/>
        </p:nvGrpSpPr>
        <p:grpSpPr>
          <a:xfrm>
            <a:off x="7180073" y="1874208"/>
            <a:ext cx="603504" cy="603504"/>
            <a:chOff x="4040238" y="1899265"/>
            <a:chExt cx="603504" cy="60350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DD558BC-3A52-6846-A716-92F6A446EF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860F66A-9728-1D49-BF2F-01958F68063E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5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B7D0BFE-E1C3-E346-A7F0-CCCA81DDF09A}"/>
              </a:ext>
            </a:extLst>
          </p:cNvPr>
          <p:cNvGrpSpPr/>
          <p:nvPr userDrawn="1"/>
        </p:nvGrpSpPr>
        <p:grpSpPr>
          <a:xfrm>
            <a:off x="3359644" y="2866213"/>
            <a:ext cx="603504" cy="603504"/>
            <a:chOff x="4040238" y="1899265"/>
            <a:chExt cx="603504" cy="603504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48C32FD-81B7-F446-898A-EB03B85720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AE85853-2B7C-134C-AF25-736DD69D88A0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2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4E268FA-2CD9-454F-AD41-89E4EF37A50C}"/>
              </a:ext>
            </a:extLst>
          </p:cNvPr>
          <p:cNvGrpSpPr/>
          <p:nvPr userDrawn="1"/>
        </p:nvGrpSpPr>
        <p:grpSpPr>
          <a:xfrm>
            <a:off x="5600861" y="3360678"/>
            <a:ext cx="603504" cy="603504"/>
            <a:chOff x="5600861" y="3360678"/>
            <a:chExt cx="603504" cy="603504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FB78B9EB-3CBF-1C41-BDB3-CBED717297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00861" y="3360678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7404141-F764-2940-B644-CF6B07EBB191}"/>
                </a:ext>
              </a:extLst>
            </p:cNvPr>
            <p:cNvSpPr txBox="1"/>
            <p:nvPr/>
          </p:nvSpPr>
          <p:spPr>
            <a:xfrm>
              <a:off x="5600861" y="3477764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3945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B6A2E89-D25D-CC4D-8670-915F29B8C960}"/>
              </a:ext>
            </a:extLst>
          </p:cNvPr>
          <p:cNvCxnSpPr/>
          <p:nvPr userDrawn="1"/>
        </p:nvCxnSpPr>
        <p:spPr>
          <a:xfrm flipV="1">
            <a:off x="3439920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A270986A-336D-CB4B-9477-803D75BEB89D}"/>
              </a:ext>
            </a:extLst>
          </p:cNvPr>
          <p:cNvSpPr/>
          <p:nvPr userDrawn="1"/>
        </p:nvSpPr>
        <p:spPr>
          <a:xfrm>
            <a:off x="2952069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3EBF0DF-9E15-3F42-A4C9-2E63F38D6094}"/>
              </a:ext>
            </a:extLst>
          </p:cNvPr>
          <p:cNvCxnSpPr/>
          <p:nvPr userDrawn="1"/>
        </p:nvCxnSpPr>
        <p:spPr>
          <a:xfrm flipV="1">
            <a:off x="1052279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10CE34E2-B7E7-BB40-A9FF-22100238E5A2}"/>
              </a:ext>
            </a:extLst>
          </p:cNvPr>
          <p:cNvSpPr/>
          <p:nvPr userDrawn="1"/>
        </p:nvSpPr>
        <p:spPr>
          <a:xfrm>
            <a:off x="1003494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0" name="Chevron 62">
            <a:extLst>
              <a:ext uri="{FF2B5EF4-FFF2-40B4-BE49-F238E27FC236}">
                <a16:creationId xmlns:a16="http://schemas.microsoft.com/office/drawing/2014/main" id="{32EC14E2-9A78-DF4B-B1FC-6A1DDC2139CA}"/>
              </a:ext>
            </a:extLst>
          </p:cNvPr>
          <p:cNvSpPr/>
          <p:nvPr userDrawn="1"/>
        </p:nvSpPr>
        <p:spPr>
          <a:xfrm>
            <a:off x="966014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7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695A626-3EFA-A74E-8FEF-911EB702B0FB}"/>
              </a:ext>
            </a:extLst>
          </p:cNvPr>
          <p:cNvCxnSpPr/>
          <p:nvPr userDrawn="1"/>
        </p:nvCxnSpPr>
        <p:spPr>
          <a:xfrm flipV="1">
            <a:off x="698135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51DFCA96-3CBA-374E-BAE6-D0F2689B7BBD}"/>
              </a:ext>
            </a:extLst>
          </p:cNvPr>
          <p:cNvSpPr/>
          <p:nvPr userDrawn="1"/>
        </p:nvSpPr>
        <p:spPr>
          <a:xfrm>
            <a:off x="649350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959900B-E3D6-154A-853E-F8CC65C2BD7F}"/>
              </a:ext>
            </a:extLst>
          </p:cNvPr>
          <p:cNvCxnSpPr/>
          <p:nvPr userDrawn="1"/>
        </p:nvCxnSpPr>
        <p:spPr>
          <a:xfrm flipV="1">
            <a:off x="166920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61708D4F-20B8-3E4D-940A-056EB94EF1E4}"/>
              </a:ext>
            </a:extLst>
          </p:cNvPr>
          <p:cNvSpPr/>
          <p:nvPr userDrawn="1"/>
        </p:nvSpPr>
        <p:spPr>
          <a:xfrm>
            <a:off x="118134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19834D4-CA3C-1443-B83C-877AE343E38D}"/>
              </a:ext>
            </a:extLst>
          </p:cNvPr>
          <p:cNvCxnSpPr/>
          <p:nvPr userDrawn="1"/>
        </p:nvCxnSpPr>
        <p:spPr>
          <a:xfrm flipV="1">
            <a:off x="8752079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2EFE9854-D393-9340-882F-01A84E08A2ED}"/>
              </a:ext>
            </a:extLst>
          </p:cNvPr>
          <p:cNvSpPr/>
          <p:nvPr userDrawn="1"/>
        </p:nvSpPr>
        <p:spPr>
          <a:xfrm>
            <a:off x="8264228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34A71BE-295C-6A47-B894-3E91A66B7240}"/>
              </a:ext>
            </a:extLst>
          </p:cNvPr>
          <p:cNvCxnSpPr/>
          <p:nvPr userDrawn="1"/>
        </p:nvCxnSpPr>
        <p:spPr>
          <a:xfrm flipV="1">
            <a:off x="521064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8756D37D-4BC0-A747-BDC2-56BB04C3F24D}"/>
              </a:ext>
            </a:extLst>
          </p:cNvPr>
          <p:cNvSpPr/>
          <p:nvPr userDrawn="1"/>
        </p:nvSpPr>
        <p:spPr>
          <a:xfrm>
            <a:off x="472278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0359BDE-A876-6E49-8686-6C00BE7739EC}"/>
              </a:ext>
            </a:extLst>
          </p:cNvPr>
          <p:cNvSpPr txBox="1"/>
          <p:nvPr userDrawn="1"/>
        </p:nvSpPr>
        <p:spPr>
          <a:xfrm>
            <a:off x="229204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CF29958-926C-FE4D-8E13-75E0A0C51770}"/>
              </a:ext>
            </a:extLst>
          </p:cNvPr>
          <p:cNvSpPr txBox="1"/>
          <p:nvPr userDrawn="1"/>
        </p:nvSpPr>
        <p:spPr>
          <a:xfrm>
            <a:off x="583348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2BE33C-7D85-A24D-B420-59D3A9D45F5B}"/>
              </a:ext>
            </a:extLst>
          </p:cNvPr>
          <p:cNvSpPr txBox="1"/>
          <p:nvPr userDrawn="1"/>
        </p:nvSpPr>
        <p:spPr>
          <a:xfrm>
            <a:off x="9374927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9F939A5-6C85-2047-AD6A-634D9B0FBE83}"/>
              </a:ext>
            </a:extLst>
          </p:cNvPr>
          <p:cNvSpPr txBox="1"/>
          <p:nvPr userDrawn="1"/>
        </p:nvSpPr>
        <p:spPr>
          <a:xfrm>
            <a:off x="823734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CC75A72-6937-4E43-BB48-DB75643ECEFC}"/>
              </a:ext>
            </a:extLst>
          </p:cNvPr>
          <p:cNvSpPr txBox="1"/>
          <p:nvPr userDrawn="1"/>
        </p:nvSpPr>
        <p:spPr>
          <a:xfrm>
            <a:off x="469590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AD5A797-7CD5-A441-9CBA-216C29F4CAB0}"/>
              </a:ext>
            </a:extLst>
          </p:cNvPr>
          <p:cNvSpPr txBox="1"/>
          <p:nvPr userDrawn="1"/>
        </p:nvSpPr>
        <p:spPr>
          <a:xfrm>
            <a:off x="1154466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0B32A09-DBC8-5342-8189-360C42692213}"/>
              </a:ext>
            </a:extLst>
          </p:cNvPr>
          <p:cNvSpPr txBox="1"/>
          <p:nvPr userDrawn="1"/>
        </p:nvSpPr>
        <p:spPr>
          <a:xfrm>
            <a:off x="6784882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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1164851-8ACA-6749-A277-CBABEB606BEA}"/>
              </a:ext>
            </a:extLst>
          </p:cNvPr>
          <p:cNvSpPr txBox="1"/>
          <p:nvPr userDrawn="1"/>
        </p:nvSpPr>
        <p:spPr>
          <a:xfrm>
            <a:off x="3243443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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B05D004-6866-6440-8850-03A4040F098C}"/>
              </a:ext>
            </a:extLst>
          </p:cNvPr>
          <p:cNvSpPr txBox="1"/>
          <p:nvPr userDrawn="1"/>
        </p:nvSpPr>
        <p:spPr>
          <a:xfrm>
            <a:off x="1472723" y="2260004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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A545981-348B-9B4A-A2A3-C676FF8DE27D}"/>
              </a:ext>
            </a:extLst>
          </p:cNvPr>
          <p:cNvSpPr txBox="1"/>
          <p:nvPr userDrawn="1"/>
        </p:nvSpPr>
        <p:spPr>
          <a:xfrm>
            <a:off x="5014163" y="2272880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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D139755-1508-004C-8037-053A6C1BE544}"/>
              </a:ext>
            </a:extLst>
          </p:cNvPr>
          <p:cNvSpPr txBox="1"/>
          <p:nvPr userDrawn="1"/>
        </p:nvSpPr>
        <p:spPr>
          <a:xfrm>
            <a:off x="8529851" y="2285755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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122B8FD-F117-1D4A-9E82-96B9D24F5771}"/>
              </a:ext>
            </a:extLst>
          </p:cNvPr>
          <p:cNvSpPr txBox="1"/>
          <p:nvPr userDrawn="1"/>
        </p:nvSpPr>
        <p:spPr>
          <a:xfrm>
            <a:off x="10326322" y="5102128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</a:t>
            </a:r>
          </a:p>
        </p:txBody>
      </p:sp>
      <p:sp>
        <p:nvSpPr>
          <p:cNvPr id="71" name="Chevron 53">
            <a:extLst>
              <a:ext uri="{FF2B5EF4-FFF2-40B4-BE49-F238E27FC236}">
                <a16:creationId xmlns:a16="http://schemas.microsoft.com/office/drawing/2014/main" id="{2B12885E-2898-9A47-93BD-37F13986545E}"/>
              </a:ext>
            </a:extLst>
          </p:cNvPr>
          <p:cNvSpPr/>
          <p:nvPr userDrawn="1"/>
        </p:nvSpPr>
        <p:spPr>
          <a:xfrm>
            <a:off x="7889420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6</a:t>
            </a:r>
          </a:p>
        </p:txBody>
      </p:sp>
      <p:sp>
        <p:nvSpPr>
          <p:cNvPr id="72" name="Chevron 54">
            <a:extLst>
              <a:ext uri="{FF2B5EF4-FFF2-40B4-BE49-F238E27FC236}">
                <a16:creationId xmlns:a16="http://schemas.microsoft.com/office/drawing/2014/main" id="{6C957690-5510-644B-BF57-EB1FAA22E103}"/>
              </a:ext>
            </a:extLst>
          </p:cNvPr>
          <p:cNvSpPr/>
          <p:nvPr userDrawn="1"/>
        </p:nvSpPr>
        <p:spPr>
          <a:xfrm>
            <a:off x="611870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5</a:t>
            </a:r>
          </a:p>
        </p:txBody>
      </p:sp>
      <p:sp>
        <p:nvSpPr>
          <p:cNvPr id="73" name="Chevron 55">
            <a:extLst>
              <a:ext uri="{FF2B5EF4-FFF2-40B4-BE49-F238E27FC236}">
                <a16:creationId xmlns:a16="http://schemas.microsoft.com/office/drawing/2014/main" id="{ADAEB6FD-D438-FF4C-92F3-EDBE1877FD40}"/>
              </a:ext>
            </a:extLst>
          </p:cNvPr>
          <p:cNvSpPr/>
          <p:nvPr userDrawn="1"/>
        </p:nvSpPr>
        <p:spPr>
          <a:xfrm>
            <a:off x="434798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4</a:t>
            </a:r>
          </a:p>
        </p:txBody>
      </p:sp>
      <p:sp>
        <p:nvSpPr>
          <p:cNvPr id="74" name="Chevron 60">
            <a:extLst>
              <a:ext uri="{FF2B5EF4-FFF2-40B4-BE49-F238E27FC236}">
                <a16:creationId xmlns:a16="http://schemas.microsoft.com/office/drawing/2014/main" id="{3F61A945-660F-314C-B1E6-89522B29A36A}"/>
              </a:ext>
            </a:extLst>
          </p:cNvPr>
          <p:cNvSpPr/>
          <p:nvPr userDrawn="1"/>
        </p:nvSpPr>
        <p:spPr>
          <a:xfrm>
            <a:off x="2577261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3</a:t>
            </a:r>
          </a:p>
        </p:txBody>
      </p:sp>
      <p:sp>
        <p:nvSpPr>
          <p:cNvPr id="75" name="Chevron 63">
            <a:extLst>
              <a:ext uri="{FF2B5EF4-FFF2-40B4-BE49-F238E27FC236}">
                <a16:creationId xmlns:a16="http://schemas.microsoft.com/office/drawing/2014/main" id="{6E2F945E-1FC1-D045-8296-EE65492AA9AA}"/>
              </a:ext>
            </a:extLst>
          </p:cNvPr>
          <p:cNvSpPr/>
          <p:nvPr userDrawn="1"/>
        </p:nvSpPr>
        <p:spPr>
          <a:xfrm>
            <a:off x="80654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28571-A04C-F442-9601-007856A4D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516"/>
            <a:ext cx="10515600" cy="73078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8317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4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8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8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5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6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8">
            <a:extLst>
              <a:ext uri="{FF2B5EF4-FFF2-40B4-BE49-F238E27FC236}">
                <a16:creationId xmlns:a16="http://schemas.microsoft.com/office/drawing/2014/main" id="{51259D3F-E530-B242-A99F-DC7E7D3973B7}"/>
              </a:ext>
            </a:extLst>
          </p:cNvPr>
          <p:cNvSpPr/>
          <p:nvPr userDrawn="1"/>
        </p:nvSpPr>
        <p:spPr>
          <a:xfrm>
            <a:off x="-73902" y="-35627"/>
            <a:ext cx="3931920" cy="6941127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0 w 6363516"/>
              <a:gd name="connsiteY0" fmla="*/ 0 h 11229185"/>
              <a:gd name="connsiteX1" fmla="*/ 6363516 w 6363516"/>
              <a:gd name="connsiteY1" fmla="*/ 0 h 11229185"/>
              <a:gd name="connsiteX2" fmla="*/ 3530669 w 6363516"/>
              <a:gd name="connsiteY2" fmla="*/ 11229185 h 11229185"/>
              <a:gd name="connsiteX3" fmla="*/ 0 w 6363516"/>
              <a:gd name="connsiteY3" fmla="*/ 11229185 h 11229185"/>
              <a:gd name="connsiteX4" fmla="*/ 0 w 636351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63516" h="11229185">
                <a:moveTo>
                  <a:pt x="0" y="0"/>
                </a:moveTo>
                <a:lnTo>
                  <a:pt x="6363516" y="0"/>
                </a:lnTo>
                <a:lnTo>
                  <a:pt x="3530669" y="11229185"/>
                </a:lnTo>
                <a:lnTo>
                  <a:pt x="0" y="11229185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6" name="Rectangle 39">
            <a:extLst>
              <a:ext uri="{FF2B5EF4-FFF2-40B4-BE49-F238E27FC236}">
                <a16:creationId xmlns:a16="http://schemas.microsoft.com/office/drawing/2014/main" id="{1349D72F-8C7C-4748-873E-C8F9AE4E11E7}"/>
              </a:ext>
            </a:extLst>
          </p:cNvPr>
          <p:cNvSpPr/>
          <p:nvPr userDrawn="1"/>
        </p:nvSpPr>
        <p:spPr>
          <a:xfrm>
            <a:off x="2259275" y="-35626"/>
            <a:ext cx="3867365" cy="69266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7" name="Rectangle 39">
            <a:extLst>
              <a:ext uri="{FF2B5EF4-FFF2-40B4-BE49-F238E27FC236}">
                <a16:creationId xmlns:a16="http://schemas.microsoft.com/office/drawing/2014/main" id="{50C756A6-1DD4-4746-9983-ABD732A9FAA5}"/>
              </a:ext>
            </a:extLst>
          </p:cNvPr>
          <p:cNvSpPr/>
          <p:nvPr userDrawn="1"/>
        </p:nvSpPr>
        <p:spPr>
          <a:xfrm>
            <a:off x="4562010" y="-35626"/>
            <a:ext cx="3867365" cy="6941126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89E7F6-D2EF-6542-8BC8-868976C46C2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292897" y="5025740"/>
            <a:ext cx="4352743" cy="76144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RIAL 40</a:t>
            </a:r>
          </a:p>
        </p:txBody>
      </p:sp>
    </p:spTree>
    <p:extLst>
      <p:ext uri="{BB962C8B-B14F-4D97-AF65-F5344CB8AC3E}">
        <p14:creationId xmlns:p14="http://schemas.microsoft.com/office/powerpoint/2010/main" val="1262995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9">
            <a:extLst>
              <a:ext uri="{FF2B5EF4-FFF2-40B4-BE49-F238E27FC236}">
                <a16:creationId xmlns:a16="http://schemas.microsoft.com/office/drawing/2014/main" id="{F2A6B369-0036-054B-A28F-0FF668A03822}"/>
              </a:ext>
            </a:extLst>
          </p:cNvPr>
          <p:cNvSpPr/>
          <p:nvPr userDrawn="1"/>
        </p:nvSpPr>
        <p:spPr>
          <a:xfrm>
            <a:off x="2158164" y="-35626"/>
            <a:ext cx="3577624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9" name="Rectangle 39">
            <a:extLst>
              <a:ext uri="{FF2B5EF4-FFF2-40B4-BE49-F238E27FC236}">
                <a16:creationId xmlns:a16="http://schemas.microsoft.com/office/drawing/2014/main" id="{57D737B4-B5B2-DF4C-AE4A-C68397194982}"/>
              </a:ext>
            </a:extLst>
          </p:cNvPr>
          <p:cNvSpPr/>
          <p:nvPr userDrawn="1"/>
        </p:nvSpPr>
        <p:spPr>
          <a:xfrm>
            <a:off x="4261517" y="-35626"/>
            <a:ext cx="3577624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10" name="Rectangle 39">
            <a:extLst>
              <a:ext uri="{FF2B5EF4-FFF2-40B4-BE49-F238E27FC236}">
                <a16:creationId xmlns:a16="http://schemas.microsoft.com/office/drawing/2014/main" id="{4237138A-00E4-EE4C-BCEC-489B99C24C44}"/>
              </a:ext>
            </a:extLst>
          </p:cNvPr>
          <p:cNvSpPr/>
          <p:nvPr userDrawn="1"/>
        </p:nvSpPr>
        <p:spPr>
          <a:xfrm>
            <a:off x="6376560" y="-35626"/>
            <a:ext cx="3506071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11" name="Rectangle 39">
            <a:extLst>
              <a:ext uri="{FF2B5EF4-FFF2-40B4-BE49-F238E27FC236}">
                <a16:creationId xmlns:a16="http://schemas.microsoft.com/office/drawing/2014/main" id="{F7E24681-28F3-AA40-A591-D0E90A59B49F}"/>
              </a:ext>
            </a:extLst>
          </p:cNvPr>
          <p:cNvSpPr/>
          <p:nvPr userDrawn="1"/>
        </p:nvSpPr>
        <p:spPr>
          <a:xfrm>
            <a:off x="8458120" y="-35626"/>
            <a:ext cx="3779794" cy="6940596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632456"/>
              <a:gd name="connsiteY0" fmla="*/ 0 h 11218727"/>
              <a:gd name="connsiteX1" fmla="*/ 6632456 w 6632456"/>
              <a:gd name="connsiteY1" fmla="*/ 17930 h 11218727"/>
              <a:gd name="connsiteX2" fmla="*/ 6560737 w 6632456"/>
              <a:gd name="connsiteY2" fmla="*/ 11211255 h 11218727"/>
              <a:gd name="connsiteX3" fmla="*/ 0 w 6632456"/>
              <a:gd name="connsiteY3" fmla="*/ 11218727 h 11218727"/>
              <a:gd name="connsiteX4" fmla="*/ 2814917 w 6632456"/>
              <a:gd name="connsiteY4" fmla="*/ 0 h 11218727"/>
              <a:gd name="connsiteX0" fmla="*/ 2814917 w 6596597"/>
              <a:gd name="connsiteY0" fmla="*/ 0 h 11218727"/>
              <a:gd name="connsiteX1" fmla="*/ 6596597 w 6596597"/>
              <a:gd name="connsiteY1" fmla="*/ 17930 h 11218727"/>
              <a:gd name="connsiteX2" fmla="*/ 6560737 w 6596597"/>
              <a:gd name="connsiteY2" fmla="*/ 11211255 h 11218727"/>
              <a:gd name="connsiteX3" fmla="*/ 0 w 6596597"/>
              <a:gd name="connsiteY3" fmla="*/ 11218727 h 11218727"/>
              <a:gd name="connsiteX4" fmla="*/ 2814917 w 6596597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560737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7539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4174" h="11218727">
                <a:moveTo>
                  <a:pt x="2814917" y="0"/>
                </a:moveTo>
                <a:lnTo>
                  <a:pt x="6704174" y="17930"/>
                </a:lnTo>
                <a:cubicBezTo>
                  <a:pt x="6704174" y="3749038"/>
                  <a:pt x="6704173" y="7462217"/>
                  <a:pt x="6704173" y="11193325"/>
                </a:cubicBez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12" name="Rectangle 39">
            <a:extLst>
              <a:ext uri="{FF2B5EF4-FFF2-40B4-BE49-F238E27FC236}">
                <a16:creationId xmlns:a16="http://schemas.microsoft.com/office/drawing/2014/main" id="{2AE0D405-C033-F047-A3BF-11BB174DBAE4}"/>
              </a:ext>
            </a:extLst>
          </p:cNvPr>
          <p:cNvSpPr/>
          <p:nvPr userDrawn="1"/>
        </p:nvSpPr>
        <p:spPr>
          <a:xfrm>
            <a:off x="-71253" y="-35626"/>
            <a:ext cx="3693712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0 w 6668316"/>
              <a:gd name="connsiteY0" fmla="*/ 71718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71718 h 11229185"/>
              <a:gd name="connsiteX0" fmla="*/ 0 w 6668316"/>
              <a:gd name="connsiteY0" fmla="*/ 17930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17930 h 11229185"/>
              <a:gd name="connsiteX0" fmla="*/ 17929 w 6686245"/>
              <a:gd name="connsiteY0" fmla="*/ 17930 h 11229185"/>
              <a:gd name="connsiteX1" fmla="*/ 6686245 w 6686245"/>
              <a:gd name="connsiteY1" fmla="*/ 0 h 11229185"/>
              <a:gd name="connsiteX2" fmla="*/ 3871326 w 6686245"/>
              <a:gd name="connsiteY2" fmla="*/ 11229185 h 11229185"/>
              <a:gd name="connsiteX3" fmla="*/ 0 w 6686245"/>
              <a:gd name="connsiteY3" fmla="*/ 11218727 h 11229185"/>
              <a:gd name="connsiteX4" fmla="*/ 17929 w 6686245"/>
              <a:gd name="connsiteY4" fmla="*/ 17930 h 11229185"/>
              <a:gd name="connsiteX0" fmla="*/ 1726 w 6670042"/>
              <a:gd name="connsiteY0" fmla="*/ 17930 h 11229185"/>
              <a:gd name="connsiteX1" fmla="*/ 6670042 w 6670042"/>
              <a:gd name="connsiteY1" fmla="*/ 0 h 11229185"/>
              <a:gd name="connsiteX2" fmla="*/ 3855123 w 6670042"/>
              <a:gd name="connsiteY2" fmla="*/ 11229185 h 11229185"/>
              <a:gd name="connsiteX3" fmla="*/ 1726 w 6670042"/>
              <a:gd name="connsiteY3" fmla="*/ 11218727 h 11229185"/>
              <a:gd name="connsiteX4" fmla="*/ 1726 w 6670042"/>
              <a:gd name="connsiteY4" fmla="*/ 1793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0042" h="11229185">
                <a:moveTo>
                  <a:pt x="1726" y="17930"/>
                </a:moveTo>
                <a:lnTo>
                  <a:pt x="6670042" y="0"/>
                </a:lnTo>
                <a:lnTo>
                  <a:pt x="3855123" y="11229185"/>
                </a:lnTo>
                <a:lnTo>
                  <a:pt x="1726" y="11218727"/>
                </a:lnTo>
                <a:cubicBezTo>
                  <a:pt x="7702" y="7485128"/>
                  <a:pt x="-4250" y="3751529"/>
                  <a:pt x="1726" y="17930"/>
                </a:cubicBezTo>
                <a:close/>
              </a:path>
            </a:pathLst>
          </a:cu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r="34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</p:spTree>
    <p:extLst>
      <p:ext uri="{BB962C8B-B14F-4D97-AF65-F5344CB8AC3E}">
        <p14:creationId xmlns:p14="http://schemas.microsoft.com/office/powerpoint/2010/main" val="3060543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9">
            <a:extLst>
              <a:ext uri="{FF2B5EF4-FFF2-40B4-BE49-F238E27FC236}">
                <a16:creationId xmlns:a16="http://schemas.microsoft.com/office/drawing/2014/main" id="{CFB3542D-B2CE-684C-8705-B60939CD5644}"/>
              </a:ext>
            </a:extLst>
          </p:cNvPr>
          <p:cNvSpPr/>
          <p:nvPr userDrawn="1"/>
        </p:nvSpPr>
        <p:spPr>
          <a:xfrm>
            <a:off x="8376422" y="118368"/>
            <a:ext cx="3674481" cy="6610248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632456"/>
              <a:gd name="connsiteY0" fmla="*/ 0 h 11218727"/>
              <a:gd name="connsiteX1" fmla="*/ 6632456 w 6632456"/>
              <a:gd name="connsiteY1" fmla="*/ 17930 h 11218727"/>
              <a:gd name="connsiteX2" fmla="*/ 6560737 w 6632456"/>
              <a:gd name="connsiteY2" fmla="*/ 11211255 h 11218727"/>
              <a:gd name="connsiteX3" fmla="*/ 0 w 6632456"/>
              <a:gd name="connsiteY3" fmla="*/ 11218727 h 11218727"/>
              <a:gd name="connsiteX4" fmla="*/ 2814917 w 6632456"/>
              <a:gd name="connsiteY4" fmla="*/ 0 h 11218727"/>
              <a:gd name="connsiteX0" fmla="*/ 2814917 w 6596597"/>
              <a:gd name="connsiteY0" fmla="*/ 0 h 11218727"/>
              <a:gd name="connsiteX1" fmla="*/ 6596597 w 6596597"/>
              <a:gd name="connsiteY1" fmla="*/ 17930 h 11218727"/>
              <a:gd name="connsiteX2" fmla="*/ 6560737 w 6596597"/>
              <a:gd name="connsiteY2" fmla="*/ 11211255 h 11218727"/>
              <a:gd name="connsiteX3" fmla="*/ 0 w 6596597"/>
              <a:gd name="connsiteY3" fmla="*/ 11218727 h 11218727"/>
              <a:gd name="connsiteX4" fmla="*/ 2814917 w 6596597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560737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7539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4174" h="11218727">
                <a:moveTo>
                  <a:pt x="2814917" y="0"/>
                </a:moveTo>
                <a:lnTo>
                  <a:pt x="6704174" y="17930"/>
                </a:lnTo>
                <a:cubicBezTo>
                  <a:pt x="6704174" y="3749038"/>
                  <a:pt x="6704173" y="7462217"/>
                  <a:pt x="6704173" y="11193325"/>
                </a:cubicBez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t="7" b="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3" name="Rectangle 39">
            <a:extLst>
              <a:ext uri="{FF2B5EF4-FFF2-40B4-BE49-F238E27FC236}">
                <a16:creationId xmlns:a16="http://schemas.microsoft.com/office/drawing/2014/main" id="{3BC3E2CA-F3E4-B946-A862-E5649B965919}"/>
              </a:ext>
            </a:extLst>
          </p:cNvPr>
          <p:cNvSpPr/>
          <p:nvPr userDrawn="1"/>
        </p:nvSpPr>
        <p:spPr>
          <a:xfrm>
            <a:off x="6349241" y="118370"/>
            <a:ext cx="3463490" cy="6610249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7" b="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4" name="Rectangle 39">
            <a:extLst>
              <a:ext uri="{FF2B5EF4-FFF2-40B4-BE49-F238E27FC236}">
                <a16:creationId xmlns:a16="http://schemas.microsoft.com/office/drawing/2014/main" id="{21A7EABA-2369-0642-871D-312192B0F17F}"/>
              </a:ext>
            </a:extLst>
          </p:cNvPr>
          <p:cNvSpPr/>
          <p:nvPr userDrawn="1"/>
        </p:nvSpPr>
        <p:spPr>
          <a:xfrm>
            <a:off x="113723" y="132115"/>
            <a:ext cx="3640581" cy="6618532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0 w 6668316"/>
              <a:gd name="connsiteY0" fmla="*/ 71718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71718 h 11229185"/>
              <a:gd name="connsiteX0" fmla="*/ 0 w 6668316"/>
              <a:gd name="connsiteY0" fmla="*/ 17930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17930 h 11229185"/>
              <a:gd name="connsiteX0" fmla="*/ 17929 w 6686245"/>
              <a:gd name="connsiteY0" fmla="*/ 17930 h 11229185"/>
              <a:gd name="connsiteX1" fmla="*/ 6686245 w 6686245"/>
              <a:gd name="connsiteY1" fmla="*/ 0 h 11229185"/>
              <a:gd name="connsiteX2" fmla="*/ 3871326 w 6686245"/>
              <a:gd name="connsiteY2" fmla="*/ 11229185 h 11229185"/>
              <a:gd name="connsiteX3" fmla="*/ 0 w 6686245"/>
              <a:gd name="connsiteY3" fmla="*/ 11218727 h 11229185"/>
              <a:gd name="connsiteX4" fmla="*/ 17929 w 6686245"/>
              <a:gd name="connsiteY4" fmla="*/ 17930 h 11229185"/>
              <a:gd name="connsiteX0" fmla="*/ 1726 w 6670042"/>
              <a:gd name="connsiteY0" fmla="*/ 17930 h 11229185"/>
              <a:gd name="connsiteX1" fmla="*/ 6670042 w 6670042"/>
              <a:gd name="connsiteY1" fmla="*/ 0 h 11229185"/>
              <a:gd name="connsiteX2" fmla="*/ 3855123 w 6670042"/>
              <a:gd name="connsiteY2" fmla="*/ 11229185 h 11229185"/>
              <a:gd name="connsiteX3" fmla="*/ 1726 w 6670042"/>
              <a:gd name="connsiteY3" fmla="*/ 11218727 h 11229185"/>
              <a:gd name="connsiteX4" fmla="*/ 1726 w 6670042"/>
              <a:gd name="connsiteY4" fmla="*/ 1793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0042" h="11229185">
                <a:moveTo>
                  <a:pt x="1726" y="17930"/>
                </a:moveTo>
                <a:lnTo>
                  <a:pt x="6670042" y="0"/>
                </a:lnTo>
                <a:lnTo>
                  <a:pt x="3855123" y="11229185"/>
                </a:lnTo>
                <a:lnTo>
                  <a:pt x="1726" y="11218727"/>
                </a:lnTo>
                <a:cubicBezTo>
                  <a:pt x="7702" y="7485128"/>
                  <a:pt x="-4250" y="3751529"/>
                  <a:pt x="1726" y="17930"/>
                </a:cubicBezTo>
                <a:close/>
              </a:path>
            </a:pathLst>
          </a:custGeom>
          <a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t="2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5" name="Rectangle 39">
            <a:extLst>
              <a:ext uri="{FF2B5EF4-FFF2-40B4-BE49-F238E27FC236}">
                <a16:creationId xmlns:a16="http://schemas.microsoft.com/office/drawing/2014/main" id="{163D95A0-1322-844B-BE56-D4E07E45CC6E}"/>
              </a:ext>
            </a:extLst>
          </p:cNvPr>
          <p:cNvSpPr/>
          <p:nvPr userDrawn="1"/>
        </p:nvSpPr>
        <p:spPr>
          <a:xfrm>
            <a:off x="2323421" y="130750"/>
            <a:ext cx="3463490" cy="6621263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20" b="2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6" name="Rectangle 39">
            <a:extLst>
              <a:ext uri="{FF2B5EF4-FFF2-40B4-BE49-F238E27FC236}">
                <a16:creationId xmlns:a16="http://schemas.microsoft.com/office/drawing/2014/main" id="{EAB5D1A8-60D7-8F4D-AB3B-0CBB7CD5B00A}"/>
              </a:ext>
            </a:extLst>
          </p:cNvPr>
          <p:cNvSpPr>
            <a:spLocks/>
          </p:cNvSpPr>
          <p:nvPr userDrawn="1"/>
        </p:nvSpPr>
        <p:spPr>
          <a:xfrm>
            <a:off x="4336331" y="107355"/>
            <a:ext cx="3465576" cy="6621263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EDAB5E6-686B-E44D-93BE-82E3AA481A56}"/>
              </a:ext>
            </a:extLst>
          </p:cNvPr>
          <p:cNvSpPr/>
          <p:nvPr userDrawn="1"/>
        </p:nvSpPr>
        <p:spPr>
          <a:xfrm>
            <a:off x="1588" y="3347558"/>
            <a:ext cx="12188825" cy="369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658C4F4-D78A-4541-8CE7-E43B3923BF16}"/>
              </a:ext>
            </a:extLst>
          </p:cNvPr>
          <p:cNvSpPr txBox="1"/>
          <p:nvPr userDrawn="1"/>
        </p:nvSpPr>
        <p:spPr>
          <a:xfrm>
            <a:off x="334564" y="3322160"/>
            <a:ext cx="2312940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  <a:latin typeface="+mj-lt"/>
              </a:rPr>
              <a:t>ARIAL 2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0296C4-CC40-2447-A26F-7DC1016B2FCC}"/>
              </a:ext>
            </a:extLst>
          </p:cNvPr>
          <p:cNvSpPr txBox="1"/>
          <p:nvPr userDrawn="1"/>
        </p:nvSpPr>
        <p:spPr>
          <a:xfrm>
            <a:off x="9066301" y="3322159"/>
            <a:ext cx="3011979" cy="461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381668F-CE8E-2643-B109-A785A6492A1B}"/>
              </a:ext>
            </a:extLst>
          </p:cNvPr>
          <p:cNvSpPr txBox="1"/>
          <p:nvPr userDrawn="1"/>
        </p:nvSpPr>
        <p:spPr>
          <a:xfrm>
            <a:off x="3122294" y="3322160"/>
            <a:ext cx="1851474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7DC21EB-94F0-B240-A58A-7759CC51B957}"/>
              </a:ext>
            </a:extLst>
          </p:cNvPr>
          <p:cNvSpPr txBox="1"/>
          <p:nvPr userDrawn="1"/>
        </p:nvSpPr>
        <p:spPr>
          <a:xfrm>
            <a:off x="5159884" y="3322160"/>
            <a:ext cx="1851474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0106904-5D7A-DD49-A3A3-EEDD6C7B5E61}"/>
              </a:ext>
            </a:extLst>
          </p:cNvPr>
          <p:cNvSpPr txBox="1"/>
          <p:nvPr userDrawn="1"/>
        </p:nvSpPr>
        <p:spPr>
          <a:xfrm>
            <a:off x="7098348" y="3322160"/>
            <a:ext cx="1851474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</p:spTree>
    <p:extLst>
      <p:ext uri="{BB962C8B-B14F-4D97-AF65-F5344CB8AC3E}">
        <p14:creationId xmlns:p14="http://schemas.microsoft.com/office/powerpoint/2010/main" val="1851340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500"/>
                            </p:stCondLst>
                            <p:childTnLst>
                              <p:par>
                                <p:cTn id="5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3" grpId="0" animBg="1"/>
      <p:bldP spid="14" grpId="0" animBg="1"/>
      <p:bldP spid="15" grpId="0" animBg="1"/>
      <p:bldP spid="16" grpId="0" animBg="1"/>
      <p:bldP spid="18" grpId="0"/>
      <p:bldP spid="19" grpId="0"/>
      <p:bldP spid="20" grpId="0"/>
      <p:bldP spid="21" grpId="0"/>
      <p:bldP spid="22" grpId="0"/>
    </p:bld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Image Dataspher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-81192" y="-83584"/>
            <a:ext cx="2630663" cy="2628303"/>
          </a:xfrm>
          <a:prstGeom prst="ellipse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1892383" y="2114848"/>
            <a:ext cx="2630663" cy="2628303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 hasCustomPrompt="1"/>
          </p:nvPr>
        </p:nvSpPr>
        <p:spPr>
          <a:xfrm>
            <a:off x="4227789" y="789286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 hasCustomPrompt="1"/>
          </p:nvPr>
        </p:nvSpPr>
        <p:spPr>
          <a:xfrm>
            <a:off x="191505" y="4313281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4544027" y="3866021"/>
            <a:ext cx="1817016" cy="1829102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331936-CCB6-774F-9FAB-B9064684F5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1086" y="3046807"/>
            <a:ext cx="7165001" cy="797752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902680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8797" y="-641259"/>
            <a:ext cx="13337634" cy="386805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9838" y="3081211"/>
            <a:ext cx="2552324" cy="85184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607210" y="4401397"/>
            <a:ext cx="6977581" cy="867630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defRPr sz="48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5B652E5-50FE-714D-8310-8E28DE55F6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07210" y="5269027"/>
            <a:ext cx="6977581" cy="635034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defRPr sz="2664" b="0">
                <a:solidFill>
                  <a:schemeClr val="bg2"/>
                </a:solidFill>
              </a:defRPr>
            </a:lvl1pPr>
          </a:lstStyle>
          <a:p>
            <a:r>
              <a:rPr lang="en-US" sz="2664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Subtitle / Presenter’s Name, Title Case</a:t>
            </a:r>
          </a:p>
        </p:txBody>
      </p:sp>
    </p:spTree>
    <p:extLst>
      <p:ext uri="{BB962C8B-B14F-4D97-AF65-F5344CB8AC3E}">
        <p14:creationId xmlns:p14="http://schemas.microsoft.com/office/powerpoint/2010/main" val="3789477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Header_Subhead_Bubbles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22BD7C0-B1AF-9D4F-99B5-3251A82163FC}"/>
              </a:ext>
            </a:extLst>
          </p:cNvPr>
          <p:cNvSpPr/>
          <p:nvPr userDrawn="1"/>
        </p:nvSpPr>
        <p:spPr>
          <a:xfrm>
            <a:off x="0" y="6321669"/>
            <a:ext cx="12192000" cy="536331"/>
          </a:xfrm>
          <a:prstGeom prst="rect">
            <a:avLst/>
          </a:prstGeom>
          <a:solidFill>
            <a:schemeClr val="bg1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79400" dist="38100" dir="16200000" rotWithShape="0">
              <a:prstClr val="black">
                <a:alpha val="1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D68951B7-1835-A149-887F-F9322297BC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2543" y="6321669"/>
            <a:ext cx="11736270" cy="536330"/>
          </a:xfrm>
          <a:prstGeom prst="rect">
            <a:avLst/>
          </a:prstGeom>
        </p:spPr>
        <p:txBody>
          <a:bodyPr anchor="ctr"/>
          <a:lstStyle>
            <a:lvl1pPr>
              <a:defRPr sz="1200" b="1" i="0">
                <a:solidFill>
                  <a:schemeClr val="accent1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55FA5B9-FF92-E44E-88EE-1D3553B15BC9}"/>
              </a:ext>
            </a:extLst>
          </p:cNvPr>
          <p:cNvCxnSpPr>
            <a:cxnSpLocks/>
          </p:cNvCxnSpPr>
          <p:nvPr userDrawn="1"/>
        </p:nvCxnSpPr>
        <p:spPr>
          <a:xfrm>
            <a:off x="11576204" y="6478154"/>
            <a:ext cx="0" cy="223361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3A316CA-73A6-7A47-B58D-F3CDF836CFFD}"/>
              </a:ext>
            </a:extLst>
          </p:cNvPr>
          <p:cNvSpPr txBox="1"/>
          <p:nvPr userDrawn="1"/>
        </p:nvSpPr>
        <p:spPr>
          <a:xfrm>
            <a:off x="10177444" y="6466724"/>
            <a:ext cx="1330511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4E012FD2-64B6-7E4B-8A57-CD17A44D8FA5}" type="slidenum">
              <a:rPr lang="en-US" sz="1000" b="0" i="0" smtClean="0">
                <a:solidFill>
                  <a:schemeClr val="accent1"/>
                </a:solidFill>
                <a:latin typeface="Helvetica Neue LT Std 45 Light" panose="020B0403020202020204" pitchFamily="34" charset="77"/>
                <a:ea typeface="Helvetica Neue Light" panose="02000403000000020004" pitchFamily="2" charset="0"/>
              </a:rPr>
              <a:pPr algn="r"/>
              <a:t>‹#›</a:t>
            </a:fld>
            <a:endParaRPr lang="en-US" sz="1000" b="0" i="0">
              <a:solidFill>
                <a:schemeClr val="accent1"/>
              </a:solidFill>
              <a:latin typeface="Helvetica Neue LT Std 45 Light" panose="020B0403020202020204" pitchFamily="34" charset="77"/>
              <a:ea typeface="Helvetica Neue Light" panose="0200040300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CC51603-B943-9748-9EBD-FE931F1D67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0224" y="6375218"/>
            <a:ext cx="429233" cy="429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42091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Header_Subhead_Bubbles">
    <p:bg>
      <p:bgPr>
        <a:solidFill>
          <a:srgbClr val="CF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Picture 14">
            <a:extLst>
              <a:ext uri="{FF2B5EF4-FFF2-40B4-BE49-F238E27FC236}">
                <a16:creationId xmlns:a16="http://schemas.microsoft.com/office/drawing/2014/main" id="{0462AF11-3560-4445-B3CB-90817C7910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97" name="Straight Connector 7"/>
          <p:cNvSpPr/>
          <p:nvPr/>
        </p:nvSpPr>
        <p:spPr>
          <a:xfrm>
            <a:off x="11576204" y="6478154"/>
            <a:ext cx="1" cy="223362"/>
          </a:xfrm>
          <a:prstGeom prst="line">
            <a:avLst/>
          </a:prstGeom>
          <a:ln>
            <a:solidFill>
              <a:schemeClr val="accent1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9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184844" y="6469756"/>
            <a:ext cx="323112" cy="240157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99" name="Picture 12" descr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0223" y="6375217"/>
            <a:ext cx="429234" cy="42923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55066511"/>
      </p:ext>
    </p:extLst>
  </p:cSld>
  <p:clrMapOvr>
    <a:masterClrMapping/>
  </p:clrMapOvr>
  <p:transition spd="med"/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2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0" name="Google Shape;2380;p228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7" y="6168300"/>
            <a:ext cx="12195176" cy="689700"/>
          </a:xfrm>
          <a:prstGeom prst="rect">
            <a:avLst/>
          </a:prstGeom>
          <a:noFill/>
          <a:ln>
            <a:noFill/>
          </a:ln>
        </p:spPr>
      </p:pic>
      <p:sp>
        <p:nvSpPr>
          <p:cNvPr id="2381" name="Google Shape;2381;p228"/>
          <p:cNvSpPr txBox="1">
            <a:spLocks noGrp="1"/>
          </p:cNvSpPr>
          <p:nvPr>
            <p:ph type="title"/>
          </p:nvPr>
        </p:nvSpPr>
        <p:spPr>
          <a:xfrm>
            <a:off x="533389" y="467150"/>
            <a:ext cx="11193515" cy="49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2382" name="Google Shape;2382;p228"/>
          <p:cNvSpPr txBox="1">
            <a:spLocks noGrp="1"/>
          </p:cNvSpPr>
          <p:nvPr>
            <p:ph type="subTitle" idx="1"/>
          </p:nvPr>
        </p:nvSpPr>
        <p:spPr>
          <a:xfrm>
            <a:off x="546317" y="945550"/>
            <a:ext cx="11180912" cy="42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2383" name="Google Shape;2383;p228"/>
          <p:cNvSpPr txBox="1">
            <a:spLocks noGrp="1"/>
          </p:cNvSpPr>
          <p:nvPr>
            <p:ph type="subTitle" idx="2"/>
          </p:nvPr>
        </p:nvSpPr>
        <p:spPr>
          <a:xfrm>
            <a:off x="546317" y="1961475"/>
            <a:ext cx="5417911" cy="352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2384" name="Google Shape;2384;p228"/>
          <p:cNvSpPr txBox="1">
            <a:spLocks noGrp="1"/>
          </p:cNvSpPr>
          <p:nvPr>
            <p:ph type="subTitle" idx="3"/>
          </p:nvPr>
        </p:nvSpPr>
        <p:spPr>
          <a:xfrm>
            <a:off x="6287138" y="1961475"/>
            <a:ext cx="5178148" cy="352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2385" name="Google Shape;2385;p228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675" rIns="91400" bIns="456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386" name="Google Shape;2386;p228"/>
          <p:cNvCxnSpPr/>
          <p:nvPr/>
        </p:nvCxnSpPr>
        <p:spPr>
          <a:xfrm>
            <a:off x="11549145" y="6542001"/>
            <a:ext cx="0" cy="1950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87" name="Google Shape;2387;p228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675" rIns="91400" bIns="456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388" name="Google Shape;2388;p228"/>
          <p:cNvCxnSpPr/>
          <p:nvPr/>
        </p:nvCxnSpPr>
        <p:spPr>
          <a:xfrm>
            <a:off x="11099578" y="6542051"/>
            <a:ext cx="0" cy="1950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89" name="Google Shape;2389;p22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1" y="6403039"/>
            <a:ext cx="412751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2390" name="Google Shape;2390;p228"/>
          <p:cNvSpPr txBox="1">
            <a:spLocks noGrp="1"/>
          </p:cNvSpPr>
          <p:nvPr>
            <p:ph type="subTitle" idx="4"/>
          </p:nvPr>
        </p:nvSpPr>
        <p:spPr>
          <a:xfrm>
            <a:off x="-1575" y="6168300"/>
            <a:ext cx="12195176" cy="68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0924942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03136928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_Subhead_2Line_Bubbles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985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_Subhead_2Line_Bubbles - No animation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151822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1A4754-18D1-3147-A7C8-3F89F4F6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505162"/>
            <a:ext cx="10972801" cy="681954"/>
          </a:xfrm>
        </p:spPr>
        <p:txBody>
          <a:bodyPr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576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2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2147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Drag and Drop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247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9283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799959" cy="6858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rag / Drop / Send to Back</a:t>
            </a:r>
          </a:p>
        </p:txBody>
      </p:sp>
    </p:spTree>
    <p:extLst>
      <p:ext uri="{BB962C8B-B14F-4D97-AF65-F5344CB8AC3E}">
        <p14:creationId xmlns:p14="http://schemas.microsoft.com/office/powerpoint/2010/main" val="1830849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645279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54011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291833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629428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</p:spPr>
        <p:txBody>
          <a:bodyPr>
            <a:noAutofit/>
          </a:bodyPr>
          <a:lstStyle>
            <a:lvl1pPr>
              <a:defRPr sz="1549"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374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203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w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082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No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910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7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32535" y="1320801"/>
            <a:ext cx="2445225" cy="432939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798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1811583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91540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801922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340815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651197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99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736407" y="1760703"/>
            <a:ext cx="3048000" cy="3048000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289337" y="1778035"/>
            <a:ext cx="3048000" cy="3048000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8188591" y="1778035"/>
            <a:ext cx="3048000" cy="3048000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94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7254866" y="1893450"/>
            <a:ext cx="1952199" cy="35791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5189792" y="1893450"/>
            <a:ext cx="1952199" cy="35791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9325337" y="1893450"/>
            <a:ext cx="1952199" cy="35791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0300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roject Sam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169941" y="1853428"/>
            <a:ext cx="2940891" cy="38885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32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8212043" y="1853428"/>
            <a:ext cx="2940891" cy="38885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368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Ai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329161" y="2119730"/>
            <a:ext cx="3492190" cy="4864537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19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" y="1659486"/>
            <a:ext cx="12192000" cy="295888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16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0039578-2316-364B-9333-E7F5AD310F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273" y="-6227"/>
            <a:ext cx="12201273" cy="6864227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66725" y="5047931"/>
            <a:ext cx="6977581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l">
              <a:defRPr sz="48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5805" y="5324713"/>
            <a:ext cx="2307094" cy="7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0923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Header&amp;Foo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9618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264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7A38B8A-3C8A-4C1F-A324-12052FB706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05" y="1904003"/>
            <a:ext cx="5134809" cy="3962227"/>
          </a:xfr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en-US" sz="1799"/>
            </a:lvl1pPr>
          </a:lstStyle>
          <a:p>
            <a:pPr marL="0" lv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887376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4">
            <a:extLst>
              <a:ext uri="{FF2B5EF4-FFF2-40B4-BE49-F238E27FC236}">
                <a16:creationId xmlns:a16="http://schemas.microsoft.com/office/drawing/2014/main" id="{63D0C033-8CCA-6C48-83C7-B9C3B83555CB}"/>
              </a:ext>
            </a:extLst>
          </p:cNvPr>
          <p:cNvSpPr>
            <a:spLocks noGrp="1"/>
          </p:cNvSpPr>
          <p:nvPr>
            <p:ph type="pic" sz="quarter" idx="87"/>
          </p:nvPr>
        </p:nvSpPr>
        <p:spPr>
          <a:xfrm>
            <a:off x="4248800" y="30996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1" name="Рисунок 4">
            <a:extLst>
              <a:ext uri="{FF2B5EF4-FFF2-40B4-BE49-F238E27FC236}">
                <a16:creationId xmlns:a16="http://schemas.microsoft.com/office/drawing/2014/main" id="{BFDB4887-8E18-6C47-886D-479784A571EE}"/>
              </a:ext>
            </a:extLst>
          </p:cNvPr>
          <p:cNvSpPr>
            <a:spLocks noGrp="1"/>
          </p:cNvSpPr>
          <p:nvPr>
            <p:ph type="pic" sz="quarter" idx="88"/>
          </p:nvPr>
        </p:nvSpPr>
        <p:spPr>
          <a:xfrm>
            <a:off x="6096000" y="23446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4" name="Рисунок 4">
            <a:extLst>
              <a:ext uri="{FF2B5EF4-FFF2-40B4-BE49-F238E27FC236}">
                <a16:creationId xmlns:a16="http://schemas.microsoft.com/office/drawing/2014/main" id="{AA7C80EB-FA6E-C941-8B1D-AB851438FA22}"/>
              </a:ext>
            </a:extLst>
          </p:cNvPr>
          <p:cNvSpPr>
            <a:spLocks noGrp="1"/>
          </p:cNvSpPr>
          <p:nvPr>
            <p:ph type="pic" sz="quarter" idx="89"/>
          </p:nvPr>
        </p:nvSpPr>
        <p:spPr>
          <a:xfrm>
            <a:off x="4248800" y="3477581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EEE0AAAD-E8F7-7043-AE31-53B2DE13AAB9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6096000" y="3470031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8303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4" grpId="0"/>
      <p:bldP spid="15" grpId="0"/>
    </p:bld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Column_No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11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A8F415-8DC4-4D92-96F4-F549CFC93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6A04374-DFCE-4ACC-9D06-44A24E770F3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09768" y="1968500"/>
            <a:ext cx="10862917" cy="423862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774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hea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2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0"/>
              </a:spcBef>
              <a:defRPr lang="en-US" b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858972-ED82-44F8-8270-3B916FDC7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59421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oogle Shape;12;p1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750"/>
            <a:ext cx="12261793" cy="6895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13;p119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46212" y="6013519"/>
            <a:ext cx="2133259" cy="711981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4;p119"/>
          <p:cNvSpPr txBox="1"/>
          <p:nvPr/>
        </p:nvSpPr>
        <p:spPr>
          <a:xfrm>
            <a:off x="441440" y="2970425"/>
            <a:ext cx="10610463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200"/>
              <a:buFont typeface="Arial"/>
              <a:buNone/>
            </a:pPr>
            <a:endParaRPr sz="6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119"/>
          <p:cNvSpPr txBox="1"/>
          <p:nvPr/>
        </p:nvSpPr>
        <p:spPr>
          <a:xfrm>
            <a:off x="441440" y="3973425"/>
            <a:ext cx="10610463" cy="71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None/>
            </a:pPr>
            <a:endParaRPr sz="26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6;p119"/>
          <p:cNvSpPr txBox="1">
            <a:spLocks noGrp="1"/>
          </p:cNvSpPr>
          <p:nvPr>
            <p:ph type="title"/>
          </p:nvPr>
        </p:nvSpPr>
        <p:spPr>
          <a:xfrm>
            <a:off x="533389" y="2779454"/>
            <a:ext cx="11193515" cy="49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48439338"/>
      </p:ext>
    </p:extLst>
  </p:cSld>
  <p:clrMapOvr>
    <a:masterClrMapping/>
  </p:clrMapOvr>
  <p:transition spd="med">
    <p:fade thruBlk="1"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39428685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 userDrawn="1">
  <p:cSld name="1_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FBEFBA-C92F-412E-92FF-867B8E8BA29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0875" y="1765300"/>
            <a:ext cx="11277362" cy="45275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231953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_Subhead_Bubbles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gicon_transparent.png">
            <a:extLst>
              <a:ext uri="{FF2B5EF4-FFF2-40B4-BE49-F238E27FC236}">
                <a16:creationId xmlns:a16="http://schemas.microsoft.com/office/drawing/2014/main" id="{7EEF0077-41BB-A94A-BE05-AC34E8FA58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2552" y="6200574"/>
            <a:ext cx="391361" cy="331807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1E5AA8F-77CC-EF40-8B54-0FD03519F4E4}"/>
              </a:ext>
            </a:extLst>
          </p:cNvPr>
          <p:cNvCxnSpPr>
            <a:cxnSpLocks/>
          </p:cNvCxnSpPr>
          <p:nvPr userDrawn="1"/>
        </p:nvCxnSpPr>
        <p:spPr>
          <a:xfrm>
            <a:off x="11308468" y="6158129"/>
            <a:ext cx="0" cy="41668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2D562F8-031A-DB49-AA3E-DF6A1AD7A4AA}"/>
              </a:ext>
            </a:extLst>
          </p:cNvPr>
          <p:cNvSpPr txBox="1"/>
          <p:nvPr userDrawn="1"/>
        </p:nvSpPr>
        <p:spPr>
          <a:xfrm>
            <a:off x="9873496" y="6227978"/>
            <a:ext cx="13305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E012FD2-64B6-7E4B-8A57-CD17A44D8FA5}" type="slidenum">
              <a:rPr lang="en-US" sz="1200" b="0" i="0" smtClean="0">
                <a:solidFill>
                  <a:schemeClr val="bg1"/>
                </a:solidFill>
                <a:latin typeface="Helvetica Neue LT Std 45 Light" panose="020B0403020202020204" pitchFamily="34" charset="77"/>
                <a:ea typeface="Helvetica Neue Light" panose="02000403000000020004" pitchFamily="2" charset="0"/>
              </a:rPr>
              <a:pPr algn="r"/>
              <a:t>‹#›</a:t>
            </a:fld>
            <a:endParaRPr lang="en-US" sz="1400" b="0" i="0">
              <a:solidFill>
                <a:schemeClr val="bg1"/>
              </a:solidFill>
              <a:latin typeface="Helvetica Neue LT Std 45 Light" panose="020B0403020202020204" pitchFamily="34" charset="77"/>
              <a:ea typeface="Helvetica Neue Light" panose="02000403000000020004" pitchFamily="2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8265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ac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mp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2" dur="750" fill="hold"/>
                                        <p:tgtEl>
                                          <p:spTgt spid="14"/>
                                        </p:tgtEl>
                                      </p:cBhvr>
                                      <p:by x="100000" y="225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1A4754-18D1-3147-A7C8-3F89F4F6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505162"/>
            <a:ext cx="10972801" cy="681954"/>
          </a:xfrm>
        </p:spPr>
        <p:txBody>
          <a:bodyPr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716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0064514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over Black">
  <p:cSld name="1_Cover Black">
    <p:bg>
      <p:bgPr>
        <a:solidFill>
          <a:schemeClr val="dk1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5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9272" y="-6227"/>
            <a:ext cx="12201273" cy="6864227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2"/>
          <p:cNvSpPr txBox="1">
            <a:spLocks noGrp="1"/>
          </p:cNvSpPr>
          <p:nvPr>
            <p:ph type="body" idx="1"/>
          </p:nvPr>
        </p:nvSpPr>
        <p:spPr>
          <a:xfrm>
            <a:off x="4266725" y="5047933"/>
            <a:ext cx="6977581" cy="10467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8725" rIns="217475" bIns="108725" anchor="t" anchorCtr="0">
            <a:noAutofit/>
          </a:bodyPr>
          <a:lstStyle>
            <a:lvl1pPr marL="457063" lvl="0" indent="-228531" algn="l">
              <a:lnSpc>
                <a:spcPct val="130000"/>
              </a:lnSpc>
              <a:spcBef>
                <a:spcPts val="96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799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" name="Google Shape;17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55806" y="5324715"/>
            <a:ext cx="2307094" cy="769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7018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head ">
  <p:cSld name="Title, Subhead ">
    <p:bg>
      <p:bgPr>
        <a:solidFill>
          <a:schemeClr val="dk1"/>
        </a:solid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4"/>
          <p:cNvSpPr txBox="1">
            <a:spLocks noGrp="1"/>
          </p:cNvSpPr>
          <p:nvPr>
            <p:ph type="body" idx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063" lvl="0" indent="-228531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None/>
              <a:defRPr b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609601" y="274639"/>
            <a:ext cx="10972801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17475" tIns="108725" rIns="217475" bIns="1087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999"/>
              <a:buFont typeface="Arial"/>
              <a:buNone/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87252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_Subhead_2Line_Bubbles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9;p120"/>
          <p:cNvSpPr txBox="1"/>
          <p:nvPr userDrawn="1"/>
        </p:nvSpPr>
        <p:spPr>
          <a:xfrm>
            <a:off x="11099569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77" tIns="45676" rIns="91377" bIns="4567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8" name="Google Shape;20;p120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0" name="Google Shape;22;p120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1" name="Google Shape;23;p120"/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1638083" y="6403043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391824"/>
            <a:ext cx="11505623" cy="823912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3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8320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Google Shape;41;p6"/>
          <p:cNvSpPr txBox="1"/>
          <p:nvPr userDrawn="1"/>
        </p:nvSpPr>
        <p:spPr>
          <a:xfrm>
            <a:off x="11099568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42;p6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" name="Google Shape;45;p6"/>
          <p:cNvPicPr preferRelativeResize="0"/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1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546538"/>
            <a:ext cx="11505623" cy="669198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4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3366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2" y="371343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47466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3_Cover Black">
    <p:bg>
      <p:bgPr>
        <a:solidFill>
          <a:schemeClr val="lt1"/>
        </a:solidFill>
        <a:effectLst/>
      </p:bgPr>
    </p:bg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Google Shape;53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Google Shape;54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4"/>
          <p:cNvSpPr txBox="1"/>
          <p:nvPr/>
        </p:nvSpPr>
        <p:spPr>
          <a:xfrm>
            <a:off x="441440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en" sz="1733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466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14"/>
          <p:cNvSpPr txBox="1"/>
          <p:nvPr/>
        </p:nvSpPr>
        <p:spPr>
          <a:xfrm>
            <a:off x="441441" y="2970425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00"/>
              <a:buFont typeface="Arial"/>
              <a:buNone/>
            </a:pPr>
            <a:endParaRPr sz="6265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14"/>
          <p:cNvSpPr txBox="1"/>
          <p:nvPr/>
        </p:nvSpPr>
        <p:spPr>
          <a:xfrm>
            <a:off x="441441" y="3973425"/>
            <a:ext cx="10610400" cy="7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666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72724641"/>
      </p:ext>
    </p:extLst>
  </p:cSld>
  <p:clrMapOvr>
    <a:masterClrMapping/>
  </p:clrMapOvr>
  <p:transition spd="med">
    <p:fade thruBlk="1"/>
  </p:transition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Google Shape;128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8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9" name="Google Shape;129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0" name="Google Shape;130;p2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Google Shape;131;p2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2" name="Google Shape;132;p2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3" name="Google Shape;133;p23"/>
          <p:cNvSpPr txBox="1"/>
          <p:nvPr/>
        </p:nvSpPr>
        <p:spPr>
          <a:xfrm>
            <a:off x="10131214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4" name="Google Shape;134;p23"/>
          <p:cNvCxnSpPr/>
          <p:nvPr/>
        </p:nvCxnSpPr>
        <p:spPr>
          <a:xfrm>
            <a:off x="11099578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20451848"/>
      </p:ext>
    </p:extLst>
  </p:cSld>
  <p:clrMapOvr>
    <a:masterClrMapping/>
  </p:clrMapOvr>
  <p:transition spd="med">
    <p:fade thruBlk="1"/>
  </p:transition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>
  <p:cSld name="Blank"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39"/>
          <p:cNvSpPr txBox="1"/>
          <p:nvPr/>
        </p:nvSpPr>
        <p:spPr>
          <a:xfrm>
            <a:off x="9070848" y="6572534"/>
            <a:ext cx="1292352" cy="143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" sz="933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933" b="0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3398254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_No_Subhead">
  <p:cSld name="1-Column_No_Subhead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47"/>
          <p:cNvSpPr txBox="1">
            <a:spLocks noGrp="1"/>
          </p:cNvSpPr>
          <p:nvPr>
            <p:ph type="body" idx="1"/>
          </p:nvPr>
        </p:nvSpPr>
        <p:spPr>
          <a:xfrm>
            <a:off x="609603" y="6572514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32"/>
              <a:buNone/>
              <a:defRPr sz="932" b="0">
                <a:solidFill>
                  <a:schemeClr val="dk2"/>
                </a:solidFill>
              </a:defRPr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47"/>
          <p:cNvSpPr txBox="1">
            <a:spLocks noGrp="1"/>
          </p:cNvSpPr>
          <p:nvPr>
            <p:ph type="title"/>
          </p:nvPr>
        </p:nvSpPr>
        <p:spPr>
          <a:xfrm>
            <a:off x="609600" y="543340"/>
            <a:ext cx="10863325" cy="437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47"/>
          <p:cNvSpPr txBox="1">
            <a:spLocks noGrp="1"/>
          </p:cNvSpPr>
          <p:nvPr>
            <p:ph type="body" idx="2"/>
          </p:nvPr>
        </p:nvSpPr>
        <p:spPr>
          <a:xfrm>
            <a:off x="609759" y="1968502"/>
            <a:ext cx="10862917" cy="423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None/>
              <a:defRPr/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30117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6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6178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364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6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722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6233B29-20D2-4A24-8745-D16DA601205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3260" y="234869"/>
            <a:ext cx="1172548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</p:spTree>
    <p:extLst>
      <p:ext uri="{BB962C8B-B14F-4D97-AF65-F5344CB8AC3E}">
        <p14:creationId xmlns:p14="http://schemas.microsoft.com/office/powerpoint/2010/main" val="1874969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_Subhead_2Line_Bubbles" userDrawn="1">
  <p:cSld name="Header_Subhead_2Line_Bubbles">
    <p:bg>
      <p:bgPr>
        <a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41;p6"/>
          <p:cNvSpPr txBox="1"/>
          <p:nvPr userDrawn="1"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42;p6"/>
          <p:cNvCxnSpPr/>
          <p:nvPr userDrawn="1"/>
        </p:nvCxnSpPr>
        <p:spPr>
          <a:xfrm>
            <a:off x="11549144" y="6542002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" name="Google Shape;43;p6"/>
          <p:cNvSpPr txBox="1"/>
          <p:nvPr userDrawn="1"/>
        </p:nvSpPr>
        <p:spPr>
          <a:xfrm>
            <a:off x="9542140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4" name="Google Shape;45;p6"/>
          <p:cNvPicPr preferRelativeResize="0"/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0"/>
            <a:ext cx="413132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48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98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7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6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6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5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80" y="546539"/>
            <a:ext cx="11505622" cy="669199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2" y="391824"/>
            <a:ext cx="49721" cy="685800"/>
            <a:chOff x="579865" y="-277318"/>
            <a:chExt cx="49722" cy="179882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6287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yr OEM/Cloud 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7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8885" y="-56271"/>
            <a:ext cx="12267148" cy="6945149"/>
          </a:xfrm>
          <a:prstGeom prst="rect">
            <a:avLst/>
          </a:prstGeom>
        </p:spPr>
      </p:pic>
      <p:graphicFrame>
        <p:nvGraphicFramePr>
          <p:cNvPr id="3" name="Content Placeholder 4"/>
          <p:cNvGraphicFramePr>
            <a:graphicFrameLocks/>
          </p:cNvGraphicFramePr>
          <p:nvPr userDrawn="1"/>
        </p:nvGraphicFramePr>
        <p:xfrm>
          <a:off x="418754" y="1136026"/>
          <a:ext cx="11308077" cy="5276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76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33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72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50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84338">
                <a:tc rowSpan="2" gridSpan="4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0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1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2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3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4108">
                <a:tc gridSpan="4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6529">
                <a:tc rowSpan="4"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X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calabl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Responsiv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Innovative.</a:t>
                      </a:r>
                      <a:endParaRPr lang="en-US" sz="20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  <a:p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High</a:t>
                      </a:r>
                      <a:r>
                        <a:rPr lang="en-US" sz="12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Capacity</a:t>
                      </a:r>
                      <a:endParaRPr lang="en-US" sz="12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Single</a:t>
                      </a:r>
                      <a:r>
                        <a:rPr lang="en-US" sz="10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Actuation</a:t>
                      </a:r>
                      <a:endParaRPr lang="en-US" sz="10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Multi Actuation</a:t>
                      </a: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86465"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E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Trusted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Efficient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Versatile.</a:t>
                      </a:r>
                    </a:p>
                    <a:p>
                      <a:pPr algn="l"/>
                      <a:endParaRPr lang="en-US" sz="18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Traditional IT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64" marR="9146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8" y="1141957"/>
            <a:ext cx="1334945" cy="555717"/>
          </a:xfrm>
          <a:prstGeom prst="rect">
            <a:avLst/>
          </a:prstGeom>
        </p:spPr>
      </p:pic>
      <p:sp>
        <p:nvSpPr>
          <p:cNvPr id="6" name="Oval 5"/>
          <p:cNvSpPr/>
          <p:nvPr userDrawn="1"/>
        </p:nvSpPr>
        <p:spPr>
          <a:xfrm>
            <a:off x="10830737" y="1533200"/>
            <a:ext cx="110403" cy="105308"/>
          </a:xfrm>
          <a:prstGeom prst="ellipse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9174">
              <a:buClrTx/>
              <a:buFontTx/>
              <a:buNone/>
            </a:pPr>
            <a:endParaRPr lang="en-US" sz="1800" b="1" kern="1200">
              <a:solidFill>
                <a:srgbClr val="000000"/>
              </a:solidFill>
            </a:endParaRPr>
          </a:p>
        </p:txBody>
      </p:sp>
      <p:sp>
        <p:nvSpPr>
          <p:cNvPr id="68" name="Rectangle 67"/>
          <p:cNvSpPr/>
          <p:nvPr userDrawn="1"/>
        </p:nvSpPr>
        <p:spPr>
          <a:xfrm>
            <a:off x="410362" y="6485863"/>
            <a:ext cx="4892862" cy="235091"/>
          </a:xfrm>
          <a:prstGeom prst="rect">
            <a:avLst/>
          </a:prstGeom>
          <a:solidFill>
            <a:srgbClr val="F2F2F2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608462">
              <a:buClrTx/>
              <a:buFontTx/>
              <a:buNone/>
            </a:pPr>
            <a:endParaRPr lang="en-US" sz="900" b="1" kern="1200">
              <a:solidFill>
                <a:srgbClr val="000000"/>
              </a:solidFill>
            </a:endParaRP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Legend:                  CTU Declare             Pilot Program      z=ZBD/SMR </a:t>
            </a: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                </a:t>
            </a:r>
          </a:p>
        </p:txBody>
      </p:sp>
      <p:sp>
        <p:nvSpPr>
          <p:cNvPr id="69" name="Oval 68"/>
          <p:cNvSpPr/>
          <p:nvPr userDrawn="1"/>
        </p:nvSpPr>
        <p:spPr>
          <a:xfrm>
            <a:off x="1315258" y="6543410"/>
            <a:ext cx="120822" cy="120853"/>
          </a:xfrm>
          <a:prstGeom prst="ellipse">
            <a:avLst/>
          </a:prstGeom>
          <a:noFill/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70" name="Oval 69"/>
          <p:cNvSpPr/>
          <p:nvPr userDrawn="1"/>
        </p:nvSpPr>
        <p:spPr>
          <a:xfrm>
            <a:off x="2420350" y="6543410"/>
            <a:ext cx="120885" cy="120853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9" name="Picture 78" descr="sgicon_transparent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6839" y="6535655"/>
            <a:ext cx="324249" cy="274836"/>
          </a:xfrm>
          <a:prstGeom prst="rect">
            <a:avLst/>
          </a:prstGeom>
        </p:spPr>
      </p:pic>
      <p:sp>
        <p:nvSpPr>
          <p:cNvPr id="80" name="TextBox 79"/>
          <p:cNvSpPr txBox="1"/>
          <p:nvPr userDrawn="1"/>
        </p:nvSpPr>
        <p:spPr>
          <a:xfrm>
            <a:off x="11099569" y="6519527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buClrTx/>
              <a:buFontTx/>
              <a:buNone/>
              <a:defRPr/>
            </a:pPr>
            <a:fld id="{63EBF4A3-DF90-A145-ABFB-48E1A00C731F}" type="slidenum">
              <a:rPr lang="en-US" sz="800" smtClean="0">
                <a:solidFill>
                  <a:srgbClr val="FFFFFF"/>
                </a:solidFill>
                <a:ea typeface="+mn-ea"/>
                <a:cs typeface="+mn-cs"/>
              </a:rPr>
              <a:pPr algn="ctr" defTabSz="457200">
                <a:buClrTx/>
                <a:buFontTx/>
                <a:buNone/>
                <a:defRPr/>
              </a:pPr>
              <a:t>‹#›</a:t>
            </a:fld>
            <a:endParaRPr lang="en-US" sz="800">
              <a:solidFill>
                <a:srgbClr val="FFFFFF"/>
              </a:solidFill>
              <a:ea typeface="+mn-ea"/>
              <a:cs typeface="+mn-cs"/>
            </a:endParaRPr>
          </a:p>
        </p:txBody>
      </p:sp>
      <p:cxnSp>
        <p:nvCxnSpPr>
          <p:cNvPr id="81" name="Straight Connector 80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rgbClr val="E6E6E6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414981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ivid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04705" y="2584534"/>
            <a:ext cx="11364384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spcBef>
                <a:spcPts val="0"/>
              </a:spcBef>
              <a:defRPr sz="64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ivider Slide Title, Title Cas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04093" y="3720398"/>
            <a:ext cx="11364698" cy="460868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title Goes Here, Title Case</a:t>
            </a:r>
          </a:p>
        </p:txBody>
      </p:sp>
      <p:pic>
        <p:nvPicPr>
          <p:cNvPr id="9" name="Picture 8" descr="sgicon_transparent.png"/>
          <p:cNvPicPr>
            <a:picLocks noChangeAspect="1"/>
          </p:cNvPicPr>
          <p:nvPr userDrawn="1"/>
        </p:nvPicPr>
        <p:blipFill>
          <a:blip r:embed="rId2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6846" y="6481337"/>
            <a:ext cx="324249" cy="274836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1" name="TextBox 10"/>
          <p:cNvSpPr txBox="1"/>
          <p:nvPr userDrawn="1"/>
        </p:nvSpPr>
        <p:spPr>
          <a:xfrm>
            <a:off x="11099567" y="6506275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44218821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">
  <p:cSld name="1-Column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7"/>
          <p:cNvSpPr txBox="1">
            <a:spLocks noGrp="1"/>
          </p:cNvSpPr>
          <p:nvPr>
            <p:ph type="body" idx="1"/>
          </p:nvPr>
        </p:nvSpPr>
        <p:spPr>
          <a:xfrm>
            <a:off x="609603" y="1968797"/>
            <a:ext cx="10960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" name="Google Shape;83;p17"/>
          <p:cNvSpPr txBox="1">
            <a:spLocks noGrp="1"/>
          </p:cNvSpPr>
          <p:nvPr>
            <p:ph type="body" idx="2"/>
          </p:nvPr>
        </p:nvSpPr>
        <p:spPr>
          <a:xfrm>
            <a:off x="609606" y="6572513"/>
            <a:ext cx="8156000" cy="14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700"/>
              <a:buFont typeface="Arial"/>
              <a:buNone/>
              <a:defRPr sz="9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4" name="Google Shape;84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85;p17"/>
          <p:cNvSpPr txBox="1">
            <a:spLocks noGrp="1"/>
          </p:cNvSpPr>
          <p:nvPr>
            <p:ph type="body" idx="3"/>
          </p:nvPr>
        </p:nvSpPr>
        <p:spPr>
          <a:xfrm>
            <a:off x="609600" y="1170409"/>
            <a:ext cx="9753600" cy="3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Google Shape;86;p17"/>
          <p:cNvSpPr txBox="1">
            <a:spLocks noGrp="1"/>
          </p:cNvSpPr>
          <p:nvPr>
            <p:ph type="title"/>
          </p:nvPr>
        </p:nvSpPr>
        <p:spPr>
          <a:xfrm>
            <a:off x="619367" y="3"/>
            <a:ext cx="9744001" cy="10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Google Shape;87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91054052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3926" y="1670050"/>
            <a:ext cx="10344150" cy="42640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5707744" y="1297178"/>
            <a:ext cx="776519" cy="6398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652" tIns="22827" rIns="45652" bIns="22827" rtlCol="0" anchor="ctr"/>
          <a:lstStyle/>
          <a:p>
            <a:pPr algn="ctr"/>
            <a:endParaRPr lang="en-US" sz="1199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218621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2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6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7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21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4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Impact ">
  <p:cSld name="Big Impact ">
    <p:bg>
      <p:bgPr>
        <a:solidFill>
          <a:schemeClr val="lt1"/>
        </a:solidFill>
        <a:effectLst/>
      </p:bgPr>
    </p:bg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" name="Google Shape;634;p80"/>
          <p:cNvPicPr preferRelativeResize="0"/>
          <p:nvPr/>
        </p:nvPicPr>
        <p:blipFill rotWithShape="1">
          <a:blip r:embed="rId2">
            <a:alphaModFix/>
          </a:blip>
          <a:srcRect l="551" t="24378" r="877" b="20403"/>
          <a:stretch/>
        </p:blipFill>
        <p:spPr>
          <a:xfrm>
            <a:off x="0" y="2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35" name="Google Shape;635;p80"/>
          <p:cNvSpPr txBox="1">
            <a:spLocks noGrp="1"/>
          </p:cNvSpPr>
          <p:nvPr>
            <p:ph type="title"/>
          </p:nvPr>
        </p:nvSpPr>
        <p:spPr>
          <a:xfrm>
            <a:off x="51" y="2417971"/>
            <a:ext cx="12192000" cy="14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6400"/>
            </a:lvl9pPr>
          </a:lstStyle>
          <a:p>
            <a:endParaRPr/>
          </a:p>
        </p:txBody>
      </p:sp>
      <p:sp>
        <p:nvSpPr>
          <p:cNvPr id="636" name="Google Shape;636;p8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7" name="Google Shape;637;p8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38" name="Google Shape;638;p8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9" name="Google Shape;639;p8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0" name="Google Shape;640;p8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2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7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20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6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7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3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8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20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3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7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1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7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6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7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Impact ">
  <p:cSld name="Big Impact ">
    <p:bg>
      <p:bgPr>
        <a:solidFill>
          <a:schemeClr val="lt1"/>
        </a:solidFill>
        <a:effectLst/>
      </p:bgPr>
    </p:bg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" name="Google Shape;634;p80"/>
          <p:cNvPicPr preferRelativeResize="0"/>
          <p:nvPr/>
        </p:nvPicPr>
        <p:blipFill rotWithShape="1">
          <a:blip r:embed="rId2">
            <a:alphaModFix/>
          </a:blip>
          <a:srcRect l="551" t="24378" r="877" b="20403"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35" name="Google Shape;635;p80"/>
          <p:cNvSpPr txBox="1">
            <a:spLocks noGrp="1"/>
          </p:cNvSpPr>
          <p:nvPr>
            <p:ph type="title"/>
          </p:nvPr>
        </p:nvSpPr>
        <p:spPr>
          <a:xfrm>
            <a:off x="51" y="2417970"/>
            <a:ext cx="12192000" cy="14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6400"/>
            </a:lvl9pPr>
          </a:lstStyle>
          <a:p>
            <a:endParaRPr/>
          </a:p>
        </p:txBody>
      </p:sp>
      <p:sp>
        <p:nvSpPr>
          <p:cNvPr id="636" name="Google Shape;636;p8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7" name="Google Shape;637;p8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38" name="Google Shape;638;p8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9" name="Google Shape;639;p8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0" name="Google Shape;640;p8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1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2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8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4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6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3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3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5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9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9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9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10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10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7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2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2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7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8"/>
            <a:ext cx="11193600" cy="4451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16" lvl="1" indent="-43099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5373" lvl="2" indent="-43099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3829" lvl="3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2289" lvl="4" indent="-43099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0747" lvl="5" indent="-43099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59203" lvl="6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67661" lvl="7" indent="-43099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76118" lvl="8" indent="-43099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5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3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7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6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3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3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3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8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8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8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09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09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2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2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7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7"/>
            <a:ext cx="11193600" cy="4451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47" lvl="1" indent="-43100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5419" lvl="2" indent="-43100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3891" lvl="3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2365" lvl="4" indent="-43100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0837" lvl="5" indent="-43100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59310" lvl="6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67782" lvl="7" indent="-43100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76255" lvl="8" indent="-43100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7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7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4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6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59" Type="http://schemas.openxmlformats.org/officeDocument/2006/relationships/slideLayout" Target="../slideLayouts/slideLayout159.xml"/><Relationship Id="rId170" Type="http://schemas.openxmlformats.org/officeDocument/2006/relationships/slideLayout" Target="../slideLayouts/slideLayout170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81" Type="http://schemas.openxmlformats.org/officeDocument/2006/relationships/slideLayout" Target="../slideLayouts/slideLayout181.xml"/><Relationship Id="rId216" Type="http://schemas.openxmlformats.org/officeDocument/2006/relationships/slideLayout" Target="../slideLayouts/slideLayout216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slideLayout" Target="../slideLayouts/slideLayout171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5" Type="http://schemas.openxmlformats.org/officeDocument/2006/relationships/slideLayout" Target="../slideLayouts/slideLayout75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61" Type="http://schemas.openxmlformats.org/officeDocument/2006/relationships/slideLayout" Target="../slideLayouts/slideLayout161.xml"/><Relationship Id="rId182" Type="http://schemas.openxmlformats.org/officeDocument/2006/relationships/slideLayout" Target="../slideLayouts/slideLayout182.xml"/><Relationship Id="rId21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5" Type="http://schemas.openxmlformats.org/officeDocument/2006/relationships/slideLayout" Target="../slideLayouts/slideLayout65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51" Type="http://schemas.openxmlformats.org/officeDocument/2006/relationships/slideLayout" Target="../slideLayouts/slideLayout151.xml"/><Relationship Id="rId172" Type="http://schemas.openxmlformats.org/officeDocument/2006/relationships/slideLayout" Target="../slideLayouts/slideLayout172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141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7.xml"/><Relationship Id="rId162" Type="http://schemas.openxmlformats.org/officeDocument/2006/relationships/slideLayout" Target="../slideLayouts/slideLayout162.xml"/><Relationship Id="rId183" Type="http://schemas.openxmlformats.org/officeDocument/2006/relationships/slideLayout" Target="../slideLayouts/slideLayout183.xml"/><Relationship Id="rId24" Type="http://schemas.openxmlformats.org/officeDocument/2006/relationships/slideLayout" Target="../slideLayouts/slideLayout24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31" Type="http://schemas.openxmlformats.org/officeDocument/2006/relationships/slideLayout" Target="../slideLayouts/slideLayout131.xml"/><Relationship Id="rId152" Type="http://schemas.openxmlformats.org/officeDocument/2006/relationships/slideLayout" Target="../slideLayouts/slideLayout152.xml"/><Relationship Id="rId173" Type="http://schemas.openxmlformats.org/officeDocument/2006/relationships/slideLayout" Target="../slideLayouts/slideLayout173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189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79" Type="http://schemas.openxmlformats.org/officeDocument/2006/relationships/slideLayout" Target="../slideLayouts/slideLayout179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48" Type="http://schemas.openxmlformats.org/officeDocument/2006/relationships/slideLayout" Target="../slideLayouts/slideLayout148.xml"/><Relationship Id="rId164" Type="http://schemas.openxmlformats.org/officeDocument/2006/relationships/slideLayout" Target="../slideLayouts/slideLayout164.xml"/><Relationship Id="rId169" Type="http://schemas.openxmlformats.org/officeDocument/2006/relationships/slideLayout" Target="../slideLayouts/slideLayout169.xml"/><Relationship Id="rId185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80" Type="http://schemas.openxmlformats.org/officeDocument/2006/relationships/slideLayout" Target="../slideLayouts/slideLayout180.xml"/><Relationship Id="rId210" Type="http://schemas.openxmlformats.org/officeDocument/2006/relationships/slideLayout" Target="../slideLayouts/slideLayout210.xml"/><Relationship Id="rId215" Type="http://schemas.openxmlformats.org/officeDocument/2006/relationships/slideLayout" Target="../slideLayouts/slideLayout215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196" Type="http://schemas.openxmlformats.org/officeDocument/2006/relationships/slideLayout" Target="../slideLayouts/slideLayout196.xml"/><Relationship Id="rId200" Type="http://schemas.openxmlformats.org/officeDocument/2006/relationships/slideLayout" Target="../slideLayouts/slideLayout200.xml"/><Relationship Id="rId16" Type="http://schemas.openxmlformats.org/officeDocument/2006/relationships/slideLayout" Target="../slideLayouts/slideLayout16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211" Type="http://schemas.openxmlformats.org/officeDocument/2006/relationships/slideLayout" Target="../slideLayouts/slideLayout211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97" Type="http://schemas.openxmlformats.org/officeDocument/2006/relationships/slideLayout" Target="../slideLayouts/slideLayout197.xml"/><Relationship Id="rId201" Type="http://schemas.openxmlformats.org/officeDocument/2006/relationships/slideLayout" Target="../slideLayouts/slideLayout201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.xml"/><Relationship Id="rId212" Type="http://schemas.openxmlformats.org/officeDocument/2006/relationships/slideLayout" Target="../slideLayouts/slideLayout212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Relationship Id="rId198" Type="http://schemas.openxmlformats.org/officeDocument/2006/relationships/slideLayout" Target="../slideLayouts/slideLayout198.xml"/><Relationship Id="rId202" Type="http://schemas.openxmlformats.org/officeDocument/2006/relationships/slideLayout" Target="../slideLayouts/slideLayout202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25" Type="http://schemas.openxmlformats.org/officeDocument/2006/relationships/slideLayout" Target="../slideLayouts/slideLayout125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slideLayout" Target="../slideLayouts/slideLayout229.xml"/><Relationship Id="rId18" Type="http://schemas.openxmlformats.org/officeDocument/2006/relationships/slideLayout" Target="../slideLayouts/slideLayout234.xml"/><Relationship Id="rId3" Type="http://schemas.openxmlformats.org/officeDocument/2006/relationships/slideLayout" Target="../slideLayouts/slideLayout219.xml"/><Relationship Id="rId21" Type="http://schemas.openxmlformats.org/officeDocument/2006/relationships/slideLayout" Target="../slideLayouts/slideLayout237.xml"/><Relationship Id="rId7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28.xml"/><Relationship Id="rId17" Type="http://schemas.openxmlformats.org/officeDocument/2006/relationships/slideLayout" Target="../slideLayouts/slideLayout233.xml"/><Relationship Id="rId2" Type="http://schemas.openxmlformats.org/officeDocument/2006/relationships/slideLayout" Target="../slideLayouts/slideLayout218.xml"/><Relationship Id="rId16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236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27.xml"/><Relationship Id="rId24" Type="http://schemas.openxmlformats.org/officeDocument/2006/relationships/image" Target="../media/image19.png"/><Relationship Id="rId5" Type="http://schemas.openxmlformats.org/officeDocument/2006/relationships/slideLayout" Target="../slideLayouts/slideLayout221.xml"/><Relationship Id="rId15" Type="http://schemas.openxmlformats.org/officeDocument/2006/relationships/slideLayout" Target="../slideLayouts/slideLayout231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26.xml"/><Relationship Id="rId19" Type="http://schemas.openxmlformats.org/officeDocument/2006/relationships/slideLayout" Target="../slideLayouts/slideLayout235.xml"/><Relationship Id="rId4" Type="http://schemas.openxmlformats.org/officeDocument/2006/relationships/slideLayout" Target="../slideLayouts/slideLayout220.xml"/><Relationship Id="rId9" Type="http://schemas.openxmlformats.org/officeDocument/2006/relationships/slideLayout" Target="../slideLayouts/slideLayout225.xml"/><Relationship Id="rId14" Type="http://schemas.openxmlformats.org/officeDocument/2006/relationships/slideLayout" Target="../slideLayouts/slideLayout230.xml"/><Relationship Id="rId22" Type="http://schemas.openxmlformats.org/officeDocument/2006/relationships/slideLayout" Target="../slideLayouts/slideLayout23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1.xml"/><Relationship Id="rId18" Type="http://schemas.openxmlformats.org/officeDocument/2006/relationships/slideLayout" Target="../slideLayouts/slideLayout256.xml"/><Relationship Id="rId26" Type="http://schemas.openxmlformats.org/officeDocument/2006/relationships/slideLayout" Target="../slideLayouts/slideLayout264.xml"/><Relationship Id="rId39" Type="http://schemas.openxmlformats.org/officeDocument/2006/relationships/slideLayout" Target="../slideLayouts/slideLayout277.xml"/><Relationship Id="rId21" Type="http://schemas.openxmlformats.org/officeDocument/2006/relationships/slideLayout" Target="../slideLayouts/slideLayout259.xml"/><Relationship Id="rId34" Type="http://schemas.openxmlformats.org/officeDocument/2006/relationships/slideLayout" Target="../slideLayouts/slideLayout272.xml"/><Relationship Id="rId42" Type="http://schemas.openxmlformats.org/officeDocument/2006/relationships/slideLayout" Target="../slideLayouts/slideLayout280.xml"/><Relationship Id="rId7" Type="http://schemas.openxmlformats.org/officeDocument/2006/relationships/slideLayout" Target="../slideLayouts/slideLayout245.xml"/><Relationship Id="rId2" Type="http://schemas.openxmlformats.org/officeDocument/2006/relationships/slideLayout" Target="../slideLayouts/slideLayout240.xml"/><Relationship Id="rId16" Type="http://schemas.openxmlformats.org/officeDocument/2006/relationships/slideLayout" Target="../slideLayouts/slideLayout254.xml"/><Relationship Id="rId29" Type="http://schemas.openxmlformats.org/officeDocument/2006/relationships/slideLayout" Target="../slideLayouts/slideLayout267.xml"/><Relationship Id="rId1" Type="http://schemas.openxmlformats.org/officeDocument/2006/relationships/slideLayout" Target="../slideLayouts/slideLayout239.xml"/><Relationship Id="rId6" Type="http://schemas.openxmlformats.org/officeDocument/2006/relationships/slideLayout" Target="../slideLayouts/slideLayout244.xml"/><Relationship Id="rId11" Type="http://schemas.openxmlformats.org/officeDocument/2006/relationships/slideLayout" Target="../slideLayouts/slideLayout249.xml"/><Relationship Id="rId24" Type="http://schemas.openxmlformats.org/officeDocument/2006/relationships/slideLayout" Target="../slideLayouts/slideLayout262.xml"/><Relationship Id="rId32" Type="http://schemas.openxmlformats.org/officeDocument/2006/relationships/slideLayout" Target="../slideLayouts/slideLayout270.xml"/><Relationship Id="rId37" Type="http://schemas.openxmlformats.org/officeDocument/2006/relationships/slideLayout" Target="../slideLayouts/slideLayout275.xml"/><Relationship Id="rId40" Type="http://schemas.openxmlformats.org/officeDocument/2006/relationships/slideLayout" Target="../slideLayouts/slideLayout278.xml"/><Relationship Id="rId45" Type="http://schemas.openxmlformats.org/officeDocument/2006/relationships/image" Target="../media/image24.png"/><Relationship Id="rId5" Type="http://schemas.openxmlformats.org/officeDocument/2006/relationships/slideLayout" Target="../slideLayouts/slideLayout243.xml"/><Relationship Id="rId15" Type="http://schemas.openxmlformats.org/officeDocument/2006/relationships/slideLayout" Target="../slideLayouts/slideLayout253.xml"/><Relationship Id="rId23" Type="http://schemas.openxmlformats.org/officeDocument/2006/relationships/slideLayout" Target="../slideLayouts/slideLayout261.xml"/><Relationship Id="rId28" Type="http://schemas.openxmlformats.org/officeDocument/2006/relationships/slideLayout" Target="../slideLayouts/slideLayout266.xml"/><Relationship Id="rId36" Type="http://schemas.openxmlformats.org/officeDocument/2006/relationships/slideLayout" Target="../slideLayouts/slideLayout274.xml"/><Relationship Id="rId10" Type="http://schemas.openxmlformats.org/officeDocument/2006/relationships/slideLayout" Target="../slideLayouts/slideLayout248.xml"/><Relationship Id="rId19" Type="http://schemas.openxmlformats.org/officeDocument/2006/relationships/slideLayout" Target="../slideLayouts/slideLayout257.xml"/><Relationship Id="rId31" Type="http://schemas.openxmlformats.org/officeDocument/2006/relationships/slideLayout" Target="../slideLayouts/slideLayout269.xml"/><Relationship Id="rId44" Type="http://schemas.openxmlformats.org/officeDocument/2006/relationships/theme" Target="../theme/theme3.xml"/><Relationship Id="rId4" Type="http://schemas.openxmlformats.org/officeDocument/2006/relationships/slideLayout" Target="../slideLayouts/slideLayout242.xml"/><Relationship Id="rId9" Type="http://schemas.openxmlformats.org/officeDocument/2006/relationships/slideLayout" Target="../slideLayouts/slideLayout247.xml"/><Relationship Id="rId14" Type="http://schemas.openxmlformats.org/officeDocument/2006/relationships/slideLayout" Target="../slideLayouts/slideLayout252.xml"/><Relationship Id="rId22" Type="http://schemas.openxmlformats.org/officeDocument/2006/relationships/slideLayout" Target="../slideLayouts/slideLayout260.xml"/><Relationship Id="rId27" Type="http://schemas.openxmlformats.org/officeDocument/2006/relationships/slideLayout" Target="../slideLayouts/slideLayout265.xml"/><Relationship Id="rId30" Type="http://schemas.openxmlformats.org/officeDocument/2006/relationships/slideLayout" Target="../slideLayouts/slideLayout268.xml"/><Relationship Id="rId35" Type="http://schemas.openxmlformats.org/officeDocument/2006/relationships/slideLayout" Target="../slideLayouts/slideLayout273.xml"/><Relationship Id="rId43" Type="http://schemas.openxmlformats.org/officeDocument/2006/relationships/slideLayout" Target="../slideLayouts/slideLayout281.xml"/><Relationship Id="rId8" Type="http://schemas.openxmlformats.org/officeDocument/2006/relationships/slideLayout" Target="../slideLayouts/slideLayout246.xml"/><Relationship Id="rId3" Type="http://schemas.openxmlformats.org/officeDocument/2006/relationships/slideLayout" Target="../slideLayouts/slideLayout241.xml"/><Relationship Id="rId12" Type="http://schemas.openxmlformats.org/officeDocument/2006/relationships/slideLayout" Target="../slideLayouts/slideLayout250.xml"/><Relationship Id="rId17" Type="http://schemas.openxmlformats.org/officeDocument/2006/relationships/slideLayout" Target="../slideLayouts/slideLayout255.xml"/><Relationship Id="rId25" Type="http://schemas.openxmlformats.org/officeDocument/2006/relationships/slideLayout" Target="../slideLayouts/slideLayout263.xml"/><Relationship Id="rId33" Type="http://schemas.openxmlformats.org/officeDocument/2006/relationships/slideLayout" Target="../slideLayouts/slideLayout271.xml"/><Relationship Id="rId38" Type="http://schemas.openxmlformats.org/officeDocument/2006/relationships/slideLayout" Target="../slideLayouts/slideLayout276.xml"/><Relationship Id="rId20" Type="http://schemas.openxmlformats.org/officeDocument/2006/relationships/slideLayout" Target="../slideLayouts/slideLayout258.xml"/><Relationship Id="rId41" Type="http://schemas.openxmlformats.org/officeDocument/2006/relationships/slideLayout" Target="../slideLayouts/slideLayout27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9.xml"/><Relationship Id="rId13" Type="http://schemas.openxmlformats.org/officeDocument/2006/relationships/slideLayout" Target="../slideLayouts/slideLayout294.xml"/><Relationship Id="rId18" Type="http://schemas.openxmlformats.org/officeDocument/2006/relationships/slideLayout" Target="../slideLayouts/slideLayout299.xml"/><Relationship Id="rId26" Type="http://schemas.openxmlformats.org/officeDocument/2006/relationships/slideLayout" Target="../slideLayouts/slideLayout307.xml"/><Relationship Id="rId3" Type="http://schemas.openxmlformats.org/officeDocument/2006/relationships/slideLayout" Target="../slideLayouts/slideLayout284.xml"/><Relationship Id="rId21" Type="http://schemas.openxmlformats.org/officeDocument/2006/relationships/slideLayout" Target="../slideLayouts/slideLayout302.xml"/><Relationship Id="rId7" Type="http://schemas.openxmlformats.org/officeDocument/2006/relationships/slideLayout" Target="../slideLayouts/slideLayout288.xml"/><Relationship Id="rId12" Type="http://schemas.openxmlformats.org/officeDocument/2006/relationships/slideLayout" Target="../slideLayouts/slideLayout293.xml"/><Relationship Id="rId17" Type="http://schemas.openxmlformats.org/officeDocument/2006/relationships/slideLayout" Target="../slideLayouts/slideLayout298.xml"/><Relationship Id="rId25" Type="http://schemas.openxmlformats.org/officeDocument/2006/relationships/slideLayout" Target="../slideLayouts/slideLayout306.xml"/><Relationship Id="rId2" Type="http://schemas.openxmlformats.org/officeDocument/2006/relationships/slideLayout" Target="../slideLayouts/slideLayout283.xml"/><Relationship Id="rId16" Type="http://schemas.openxmlformats.org/officeDocument/2006/relationships/slideLayout" Target="../slideLayouts/slideLayout297.xml"/><Relationship Id="rId20" Type="http://schemas.openxmlformats.org/officeDocument/2006/relationships/slideLayout" Target="../slideLayouts/slideLayout301.xml"/><Relationship Id="rId29" Type="http://schemas.openxmlformats.org/officeDocument/2006/relationships/slideLayout" Target="../slideLayouts/slideLayout310.xml"/><Relationship Id="rId1" Type="http://schemas.openxmlformats.org/officeDocument/2006/relationships/slideLayout" Target="../slideLayouts/slideLayout282.xml"/><Relationship Id="rId6" Type="http://schemas.openxmlformats.org/officeDocument/2006/relationships/slideLayout" Target="../slideLayouts/slideLayout287.xml"/><Relationship Id="rId11" Type="http://schemas.openxmlformats.org/officeDocument/2006/relationships/slideLayout" Target="../slideLayouts/slideLayout292.xml"/><Relationship Id="rId24" Type="http://schemas.openxmlformats.org/officeDocument/2006/relationships/slideLayout" Target="../slideLayouts/slideLayout305.xml"/><Relationship Id="rId32" Type="http://schemas.openxmlformats.org/officeDocument/2006/relationships/image" Target="../media/image42.png"/><Relationship Id="rId5" Type="http://schemas.openxmlformats.org/officeDocument/2006/relationships/slideLayout" Target="../slideLayouts/slideLayout286.xml"/><Relationship Id="rId15" Type="http://schemas.openxmlformats.org/officeDocument/2006/relationships/slideLayout" Target="../slideLayouts/slideLayout296.xml"/><Relationship Id="rId23" Type="http://schemas.openxmlformats.org/officeDocument/2006/relationships/slideLayout" Target="../slideLayouts/slideLayout304.xml"/><Relationship Id="rId28" Type="http://schemas.openxmlformats.org/officeDocument/2006/relationships/slideLayout" Target="../slideLayouts/slideLayout309.xml"/><Relationship Id="rId10" Type="http://schemas.openxmlformats.org/officeDocument/2006/relationships/slideLayout" Target="../slideLayouts/slideLayout291.xml"/><Relationship Id="rId19" Type="http://schemas.openxmlformats.org/officeDocument/2006/relationships/slideLayout" Target="../slideLayouts/slideLayout300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285.xml"/><Relationship Id="rId9" Type="http://schemas.openxmlformats.org/officeDocument/2006/relationships/slideLayout" Target="../slideLayouts/slideLayout290.xml"/><Relationship Id="rId14" Type="http://schemas.openxmlformats.org/officeDocument/2006/relationships/slideLayout" Target="../slideLayouts/slideLayout295.xml"/><Relationship Id="rId22" Type="http://schemas.openxmlformats.org/officeDocument/2006/relationships/slideLayout" Target="../slideLayouts/slideLayout303.xml"/><Relationship Id="rId27" Type="http://schemas.openxmlformats.org/officeDocument/2006/relationships/slideLayout" Target="../slideLayouts/slideLayout308.xml"/><Relationship Id="rId30" Type="http://schemas.openxmlformats.org/officeDocument/2006/relationships/slideLayout" Target="../slideLayouts/slideLayout31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4.xml"/><Relationship Id="rId18" Type="http://schemas.openxmlformats.org/officeDocument/2006/relationships/slideLayout" Target="../slideLayouts/slideLayout329.xml"/><Relationship Id="rId26" Type="http://schemas.openxmlformats.org/officeDocument/2006/relationships/slideLayout" Target="../slideLayouts/slideLayout337.xml"/><Relationship Id="rId39" Type="http://schemas.openxmlformats.org/officeDocument/2006/relationships/slideLayout" Target="../slideLayouts/slideLayout350.xml"/><Relationship Id="rId21" Type="http://schemas.openxmlformats.org/officeDocument/2006/relationships/slideLayout" Target="../slideLayouts/slideLayout332.xml"/><Relationship Id="rId34" Type="http://schemas.openxmlformats.org/officeDocument/2006/relationships/slideLayout" Target="../slideLayouts/slideLayout345.xml"/><Relationship Id="rId42" Type="http://schemas.openxmlformats.org/officeDocument/2006/relationships/slideLayout" Target="../slideLayouts/slideLayout353.xml"/><Relationship Id="rId7" Type="http://schemas.openxmlformats.org/officeDocument/2006/relationships/slideLayout" Target="../slideLayouts/slideLayout318.xml"/><Relationship Id="rId2" Type="http://schemas.openxmlformats.org/officeDocument/2006/relationships/slideLayout" Target="../slideLayouts/slideLayout313.xml"/><Relationship Id="rId16" Type="http://schemas.openxmlformats.org/officeDocument/2006/relationships/slideLayout" Target="../slideLayouts/slideLayout327.xml"/><Relationship Id="rId29" Type="http://schemas.openxmlformats.org/officeDocument/2006/relationships/slideLayout" Target="../slideLayouts/slideLayout340.xml"/><Relationship Id="rId1" Type="http://schemas.openxmlformats.org/officeDocument/2006/relationships/slideLayout" Target="../slideLayouts/slideLayout312.xml"/><Relationship Id="rId6" Type="http://schemas.openxmlformats.org/officeDocument/2006/relationships/slideLayout" Target="../slideLayouts/slideLayout317.xml"/><Relationship Id="rId11" Type="http://schemas.openxmlformats.org/officeDocument/2006/relationships/slideLayout" Target="../slideLayouts/slideLayout322.xml"/><Relationship Id="rId24" Type="http://schemas.openxmlformats.org/officeDocument/2006/relationships/slideLayout" Target="../slideLayouts/slideLayout335.xml"/><Relationship Id="rId32" Type="http://schemas.openxmlformats.org/officeDocument/2006/relationships/slideLayout" Target="../slideLayouts/slideLayout343.xml"/><Relationship Id="rId37" Type="http://schemas.openxmlformats.org/officeDocument/2006/relationships/slideLayout" Target="../slideLayouts/slideLayout348.xml"/><Relationship Id="rId40" Type="http://schemas.openxmlformats.org/officeDocument/2006/relationships/slideLayout" Target="../slideLayouts/slideLayout351.xml"/><Relationship Id="rId45" Type="http://schemas.openxmlformats.org/officeDocument/2006/relationships/theme" Target="../theme/theme5.xml"/><Relationship Id="rId5" Type="http://schemas.openxmlformats.org/officeDocument/2006/relationships/slideLayout" Target="../slideLayouts/slideLayout316.xml"/><Relationship Id="rId15" Type="http://schemas.openxmlformats.org/officeDocument/2006/relationships/slideLayout" Target="../slideLayouts/slideLayout326.xml"/><Relationship Id="rId23" Type="http://schemas.openxmlformats.org/officeDocument/2006/relationships/slideLayout" Target="../slideLayouts/slideLayout334.xml"/><Relationship Id="rId28" Type="http://schemas.openxmlformats.org/officeDocument/2006/relationships/slideLayout" Target="../slideLayouts/slideLayout339.xml"/><Relationship Id="rId36" Type="http://schemas.openxmlformats.org/officeDocument/2006/relationships/slideLayout" Target="../slideLayouts/slideLayout347.xml"/><Relationship Id="rId10" Type="http://schemas.openxmlformats.org/officeDocument/2006/relationships/slideLayout" Target="../slideLayouts/slideLayout321.xml"/><Relationship Id="rId19" Type="http://schemas.openxmlformats.org/officeDocument/2006/relationships/slideLayout" Target="../slideLayouts/slideLayout330.xml"/><Relationship Id="rId31" Type="http://schemas.openxmlformats.org/officeDocument/2006/relationships/slideLayout" Target="../slideLayouts/slideLayout342.xml"/><Relationship Id="rId44" Type="http://schemas.openxmlformats.org/officeDocument/2006/relationships/slideLayout" Target="../slideLayouts/slideLayout355.xml"/><Relationship Id="rId4" Type="http://schemas.openxmlformats.org/officeDocument/2006/relationships/slideLayout" Target="../slideLayouts/slideLayout315.xml"/><Relationship Id="rId9" Type="http://schemas.openxmlformats.org/officeDocument/2006/relationships/slideLayout" Target="../slideLayouts/slideLayout320.xml"/><Relationship Id="rId14" Type="http://schemas.openxmlformats.org/officeDocument/2006/relationships/slideLayout" Target="../slideLayouts/slideLayout325.xml"/><Relationship Id="rId22" Type="http://schemas.openxmlformats.org/officeDocument/2006/relationships/slideLayout" Target="../slideLayouts/slideLayout333.xml"/><Relationship Id="rId27" Type="http://schemas.openxmlformats.org/officeDocument/2006/relationships/slideLayout" Target="../slideLayouts/slideLayout338.xml"/><Relationship Id="rId30" Type="http://schemas.openxmlformats.org/officeDocument/2006/relationships/slideLayout" Target="../slideLayouts/slideLayout341.xml"/><Relationship Id="rId35" Type="http://schemas.openxmlformats.org/officeDocument/2006/relationships/slideLayout" Target="../slideLayouts/slideLayout346.xml"/><Relationship Id="rId43" Type="http://schemas.openxmlformats.org/officeDocument/2006/relationships/slideLayout" Target="../slideLayouts/slideLayout354.xml"/><Relationship Id="rId8" Type="http://schemas.openxmlformats.org/officeDocument/2006/relationships/slideLayout" Target="../slideLayouts/slideLayout319.xml"/><Relationship Id="rId3" Type="http://schemas.openxmlformats.org/officeDocument/2006/relationships/slideLayout" Target="../slideLayouts/slideLayout314.xml"/><Relationship Id="rId12" Type="http://schemas.openxmlformats.org/officeDocument/2006/relationships/slideLayout" Target="../slideLayouts/slideLayout323.xml"/><Relationship Id="rId17" Type="http://schemas.openxmlformats.org/officeDocument/2006/relationships/slideLayout" Target="../slideLayouts/slideLayout328.xml"/><Relationship Id="rId25" Type="http://schemas.openxmlformats.org/officeDocument/2006/relationships/slideLayout" Target="../slideLayouts/slideLayout336.xml"/><Relationship Id="rId33" Type="http://schemas.openxmlformats.org/officeDocument/2006/relationships/slideLayout" Target="../slideLayouts/slideLayout344.xml"/><Relationship Id="rId38" Type="http://schemas.openxmlformats.org/officeDocument/2006/relationships/slideLayout" Target="../slideLayouts/slideLayout349.xml"/><Relationship Id="rId46" Type="http://schemas.openxmlformats.org/officeDocument/2006/relationships/image" Target="../media/image24.png"/><Relationship Id="rId20" Type="http://schemas.openxmlformats.org/officeDocument/2006/relationships/slideLayout" Target="../slideLayouts/slideLayout331.xml"/><Relationship Id="rId41" Type="http://schemas.openxmlformats.org/officeDocument/2006/relationships/slideLayout" Target="../slideLayouts/slideLayout3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" name="Google Shape;564;p71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5449" r:id="rId1"/>
    <p:sldLayoutId id="2147485450" r:id="rId2"/>
    <p:sldLayoutId id="2147485451" r:id="rId3"/>
    <p:sldLayoutId id="2147485452" r:id="rId4"/>
    <p:sldLayoutId id="2147485453" r:id="rId5"/>
    <p:sldLayoutId id="2147485454" r:id="rId6"/>
    <p:sldLayoutId id="2147485455" r:id="rId7"/>
    <p:sldLayoutId id="2147485456" r:id="rId8"/>
    <p:sldLayoutId id="2147485458" r:id="rId9"/>
    <p:sldLayoutId id="2147485459" r:id="rId10"/>
    <p:sldLayoutId id="2147485460" r:id="rId11"/>
    <p:sldLayoutId id="2147485461" r:id="rId12"/>
    <p:sldLayoutId id="2147485462" r:id="rId13"/>
    <p:sldLayoutId id="2147485463" r:id="rId14"/>
    <p:sldLayoutId id="2147485464" r:id="rId15"/>
    <p:sldLayoutId id="2147485465" r:id="rId16"/>
    <p:sldLayoutId id="2147485466" r:id="rId17"/>
    <p:sldLayoutId id="2147485467" r:id="rId18"/>
    <p:sldLayoutId id="2147485468" r:id="rId19"/>
    <p:sldLayoutId id="2147485469" r:id="rId20"/>
    <p:sldLayoutId id="2147485470" r:id="rId21"/>
    <p:sldLayoutId id="2147485471" r:id="rId22"/>
    <p:sldLayoutId id="2147485472" r:id="rId23"/>
    <p:sldLayoutId id="2147485473" r:id="rId24"/>
    <p:sldLayoutId id="2147485474" r:id="rId25"/>
    <p:sldLayoutId id="2147485475" r:id="rId26"/>
    <p:sldLayoutId id="2147485476" r:id="rId27"/>
    <p:sldLayoutId id="2147485477" r:id="rId28"/>
    <p:sldLayoutId id="2147485479" r:id="rId29"/>
    <p:sldLayoutId id="2147485480" r:id="rId30"/>
    <p:sldLayoutId id="2147485481" r:id="rId31"/>
    <p:sldLayoutId id="2147487057" r:id="rId32"/>
    <p:sldLayoutId id="2147487058" r:id="rId33"/>
    <p:sldLayoutId id="2147487059" r:id="rId34"/>
    <p:sldLayoutId id="2147487060" r:id="rId35"/>
    <p:sldLayoutId id="2147487061" r:id="rId36"/>
    <p:sldLayoutId id="2147487062" r:id="rId37"/>
    <p:sldLayoutId id="2147487063" r:id="rId38"/>
    <p:sldLayoutId id="2147487064" r:id="rId39"/>
    <p:sldLayoutId id="2147487065" r:id="rId40"/>
    <p:sldLayoutId id="2147487066" r:id="rId41"/>
    <p:sldLayoutId id="2147487067" r:id="rId42"/>
    <p:sldLayoutId id="2147487068" r:id="rId43"/>
    <p:sldLayoutId id="2147487069" r:id="rId44"/>
    <p:sldLayoutId id="2147487070" r:id="rId45"/>
    <p:sldLayoutId id="2147487071" r:id="rId46"/>
    <p:sldLayoutId id="2147485082" r:id="rId47"/>
    <p:sldLayoutId id="2147485083" r:id="rId48"/>
    <p:sldLayoutId id="2147485084" r:id="rId49"/>
    <p:sldLayoutId id="2147485085" r:id="rId50"/>
    <p:sldLayoutId id="2147485086" r:id="rId51"/>
    <p:sldLayoutId id="2147485087" r:id="rId52"/>
    <p:sldLayoutId id="2147485088" r:id="rId53"/>
    <p:sldLayoutId id="2147485089" r:id="rId54"/>
    <p:sldLayoutId id="2147485090" r:id="rId55"/>
    <p:sldLayoutId id="2147485091" r:id="rId56"/>
    <p:sldLayoutId id="2147485092" r:id="rId57"/>
    <p:sldLayoutId id="2147485093" r:id="rId58"/>
    <p:sldLayoutId id="2147485094" r:id="rId59"/>
    <p:sldLayoutId id="2147485095" r:id="rId60"/>
    <p:sldLayoutId id="2147485096" r:id="rId61"/>
    <p:sldLayoutId id="2147485097" r:id="rId62"/>
    <p:sldLayoutId id="2147487072" r:id="rId63"/>
    <p:sldLayoutId id="2147487073" r:id="rId64"/>
    <p:sldLayoutId id="2147487074" r:id="rId65"/>
    <p:sldLayoutId id="2147487075" r:id="rId66"/>
    <p:sldLayoutId id="2147487076" r:id="rId67"/>
    <p:sldLayoutId id="2147487077" r:id="rId68"/>
    <p:sldLayoutId id="2147487078" r:id="rId69"/>
    <p:sldLayoutId id="2147487079" r:id="rId70"/>
    <p:sldLayoutId id="2147487080" r:id="rId71"/>
    <p:sldLayoutId id="2147487081" r:id="rId72"/>
    <p:sldLayoutId id="2147487082" r:id="rId73"/>
    <p:sldLayoutId id="2147487083" r:id="rId74"/>
    <p:sldLayoutId id="2147487084" r:id="rId75"/>
    <p:sldLayoutId id="2147487085" r:id="rId76"/>
    <p:sldLayoutId id="2147487086" r:id="rId77"/>
    <p:sldLayoutId id="2147487087" r:id="rId78"/>
    <p:sldLayoutId id="2147487088" r:id="rId79"/>
    <p:sldLayoutId id="2147485098" r:id="rId80"/>
    <p:sldLayoutId id="2147485099" r:id="rId81"/>
    <p:sldLayoutId id="2147485100" r:id="rId82"/>
    <p:sldLayoutId id="2147485101" r:id="rId83"/>
    <p:sldLayoutId id="2147485102" r:id="rId84"/>
    <p:sldLayoutId id="2147485103" r:id="rId85"/>
    <p:sldLayoutId id="2147485104" r:id="rId86"/>
    <p:sldLayoutId id="2147485105" r:id="rId87"/>
    <p:sldLayoutId id="2147485106" r:id="rId88"/>
    <p:sldLayoutId id="2147485107" r:id="rId89"/>
    <p:sldLayoutId id="2147485108" r:id="rId90"/>
    <p:sldLayoutId id="2147485117" r:id="rId91"/>
    <p:sldLayoutId id="2147485118" r:id="rId92"/>
    <p:sldLayoutId id="2147485119" r:id="rId93"/>
    <p:sldLayoutId id="2147485120" r:id="rId94"/>
    <p:sldLayoutId id="2147485121" r:id="rId95"/>
    <p:sldLayoutId id="2147485122" r:id="rId96"/>
    <p:sldLayoutId id="2147485405" r:id="rId97"/>
    <p:sldLayoutId id="2147485406" r:id="rId98"/>
    <p:sldLayoutId id="2147485407" r:id="rId99"/>
    <p:sldLayoutId id="2147485408" r:id="rId100"/>
    <p:sldLayoutId id="2147485409" r:id="rId101"/>
    <p:sldLayoutId id="2147485410" r:id="rId102"/>
    <p:sldLayoutId id="2147485411" r:id="rId103"/>
    <p:sldLayoutId id="2147485412" r:id="rId104"/>
    <p:sldLayoutId id="2147485413" r:id="rId105"/>
    <p:sldLayoutId id="2147485414" r:id="rId106"/>
    <p:sldLayoutId id="2147485415" r:id="rId107"/>
    <p:sldLayoutId id="2147485416" r:id="rId108"/>
    <p:sldLayoutId id="2147485417" r:id="rId109"/>
    <p:sldLayoutId id="2147485418" r:id="rId110"/>
    <p:sldLayoutId id="2147485419" r:id="rId111"/>
    <p:sldLayoutId id="2147485420" r:id="rId112"/>
    <p:sldLayoutId id="2147485421" r:id="rId113"/>
    <p:sldLayoutId id="2147485422" r:id="rId114"/>
    <p:sldLayoutId id="2147485423" r:id="rId115"/>
    <p:sldLayoutId id="2147485424" r:id="rId116"/>
    <p:sldLayoutId id="2147485425" r:id="rId117"/>
    <p:sldLayoutId id="2147485426" r:id="rId118"/>
    <p:sldLayoutId id="2147485427" r:id="rId119"/>
    <p:sldLayoutId id="2147485428" r:id="rId120"/>
    <p:sldLayoutId id="2147485429" r:id="rId121"/>
    <p:sldLayoutId id="2147485430" r:id="rId122"/>
    <p:sldLayoutId id="2147485431" r:id="rId123"/>
    <p:sldLayoutId id="2147485432" r:id="rId124"/>
    <p:sldLayoutId id="2147485433" r:id="rId125"/>
    <p:sldLayoutId id="2147485434" r:id="rId126"/>
    <p:sldLayoutId id="2147485435" r:id="rId127"/>
    <p:sldLayoutId id="2147485436" r:id="rId128"/>
    <p:sldLayoutId id="2147485437" r:id="rId129"/>
    <p:sldLayoutId id="2147483716" r:id="rId130"/>
    <p:sldLayoutId id="2147483717" r:id="rId131"/>
    <p:sldLayoutId id="2147483718" r:id="rId132"/>
    <p:sldLayoutId id="2147483720" r:id="rId133"/>
    <p:sldLayoutId id="2147483721" r:id="rId134"/>
    <p:sldLayoutId id="2147483722" r:id="rId135"/>
    <p:sldLayoutId id="2147483723" r:id="rId136"/>
    <p:sldLayoutId id="2147483725" r:id="rId137"/>
    <p:sldLayoutId id="2147483726" r:id="rId138"/>
    <p:sldLayoutId id="2147483727" r:id="rId139"/>
    <p:sldLayoutId id="2147483728" r:id="rId140"/>
    <p:sldLayoutId id="2147483729" r:id="rId141"/>
    <p:sldLayoutId id="2147483730" r:id="rId142"/>
    <p:sldLayoutId id="2147483731" r:id="rId143"/>
    <p:sldLayoutId id="2147487111" r:id="rId144"/>
    <p:sldLayoutId id="2147487112" r:id="rId145"/>
    <p:sldLayoutId id="2147487113" r:id="rId146"/>
    <p:sldLayoutId id="2147487114" r:id="rId147"/>
    <p:sldLayoutId id="2147487115" r:id="rId148"/>
    <p:sldLayoutId id="2147487116" r:id="rId149"/>
    <p:sldLayoutId id="2147487117" r:id="rId150"/>
    <p:sldLayoutId id="2147487118" r:id="rId151"/>
    <p:sldLayoutId id="2147487119" r:id="rId152"/>
    <p:sldLayoutId id="2147487120" r:id="rId153"/>
    <p:sldLayoutId id="2147487121" r:id="rId154"/>
    <p:sldLayoutId id="2147487122" r:id="rId155"/>
    <p:sldLayoutId id="2147487123" r:id="rId156"/>
    <p:sldLayoutId id="2147487124" r:id="rId157"/>
    <p:sldLayoutId id="2147487125" r:id="rId158"/>
    <p:sldLayoutId id="2147487126" r:id="rId159"/>
    <p:sldLayoutId id="2147483748" r:id="rId160"/>
    <p:sldLayoutId id="2147487127" r:id="rId161"/>
    <p:sldLayoutId id="2147485482" r:id="rId162"/>
    <p:sldLayoutId id="2147485483" r:id="rId163"/>
    <p:sldLayoutId id="2147485484" r:id="rId164"/>
    <p:sldLayoutId id="2147487089" r:id="rId165"/>
    <p:sldLayoutId id="2147487090" r:id="rId166"/>
    <p:sldLayoutId id="2147487091" r:id="rId167"/>
    <p:sldLayoutId id="2147487092" r:id="rId168"/>
    <p:sldLayoutId id="2147487093" r:id="rId169"/>
    <p:sldLayoutId id="2147487094" r:id="rId170"/>
    <p:sldLayoutId id="2147487095" r:id="rId171"/>
    <p:sldLayoutId id="2147487097" r:id="rId172"/>
    <p:sldLayoutId id="2147487098" r:id="rId173"/>
    <p:sldLayoutId id="2147487099" r:id="rId174"/>
    <p:sldLayoutId id="2147487100" r:id="rId175"/>
    <p:sldLayoutId id="2147487101" r:id="rId176"/>
    <p:sldLayoutId id="2147487102" r:id="rId177"/>
    <p:sldLayoutId id="2147487103" r:id="rId178"/>
    <p:sldLayoutId id="2147487104" r:id="rId179"/>
    <p:sldLayoutId id="2147487105" r:id="rId180"/>
    <p:sldLayoutId id="2147487106" r:id="rId181"/>
    <p:sldLayoutId id="2147487107" r:id="rId182"/>
    <p:sldLayoutId id="2147487096" r:id="rId183"/>
    <p:sldLayoutId id="2147485123" r:id="rId184"/>
    <p:sldLayoutId id="2147485124" r:id="rId185"/>
    <p:sldLayoutId id="2147485125" r:id="rId186"/>
    <p:sldLayoutId id="2147485126" r:id="rId187"/>
    <p:sldLayoutId id="2147485109" r:id="rId188"/>
    <p:sldLayoutId id="2147485110" r:id="rId189"/>
    <p:sldLayoutId id="2147485111" r:id="rId190"/>
    <p:sldLayoutId id="2147485112" r:id="rId191"/>
    <p:sldLayoutId id="2147485113" r:id="rId192"/>
    <p:sldLayoutId id="2147485114" r:id="rId193"/>
    <p:sldLayoutId id="2147485115" r:id="rId194"/>
    <p:sldLayoutId id="2147485438" r:id="rId195"/>
    <p:sldLayoutId id="2147485439" r:id="rId196"/>
    <p:sldLayoutId id="2147485440" r:id="rId197"/>
    <p:sldLayoutId id="2147485441" r:id="rId198"/>
    <p:sldLayoutId id="2147485442" r:id="rId199"/>
    <p:sldLayoutId id="2147485443" r:id="rId200"/>
    <p:sldLayoutId id="2147485444" r:id="rId201"/>
    <p:sldLayoutId id="2147485445" r:id="rId202"/>
    <p:sldLayoutId id="2147485446" r:id="rId203"/>
    <p:sldLayoutId id="2147485447" r:id="rId204"/>
    <p:sldLayoutId id="2147485448" r:id="rId205"/>
    <p:sldLayoutId id="2147487128" r:id="rId206"/>
    <p:sldLayoutId id="2147487129" r:id="rId207"/>
    <p:sldLayoutId id="2147487130" r:id="rId208"/>
    <p:sldLayoutId id="2147487131" r:id="rId209"/>
    <p:sldLayoutId id="2147487132" r:id="rId210"/>
    <p:sldLayoutId id="2147487133" r:id="rId211"/>
    <p:sldLayoutId id="2147487040" r:id="rId212"/>
    <p:sldLayoutId id="2147487041" r:id="rId213"/>
    <p:sldLayoutId id="2147487042" r:id="rId214"/>
    <p:sldLayoutId id="2147487043" r:id="rId215"/>
    <p:sldLayoutId id="2147487255" r:id="rId216"/>
  </p:sldLayoutIdLst>
  <p:transition spd="med">
    <p:fade thruBlk="1"/>
  </p:transition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C853CF0-1FF9-0649-8875-CA7590D98506}"/>
              </a:ext>
            </a:extLst>
          </p:cNvPr>
          <p:cNvSpPr txBox="1"/>
          <p:nvPr userDrawn="1"/>
        </p:nvSpPr>
        <p:spPr>
          <a:xfrm>
            <a:off x="9382540" y="6416124"/>
            <a:ext cx="21567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Confidential  |  2020	  |</a:t>
            </a:r>
          </a:p>
        </p:txBody>
      </p:sp>
      <p:pic>
        <p:nvPicPr>
          <p:cNvPr id="8" name="Picture 7" descr="sgicon_transparent.png">
            <a:extLst>
              <a:ext uri="{FF2B5EF4-FFF2-40B4-BE49-F238E27FC236}">
                <a16:creationId xmlns:a16="http://schemas.microsoft.com/office/drawing/2014/main" id="{C452FFFA-E04A-5F48-8A9B-1E41509563DB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33787" y="6409511"/>
            <a:ext cx="324249" cy="27483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6482268-E1F6-C843-883E-6702C2F315AC}"/>
              </a:ext>
            </a:extLst>
          </p:cNvPr>
          <p:cNvSpPr txBox="1"/>
          <p:nvPr userDrawn="1"/>
        </p:nvSpPr>
        <p:spPr>
          <a:xfrm>
            <a:off x="11404235" y="6447654"/>
            <a:ext cx="3699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26542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4" r:id="rId1"/>
    <p:sldLayoutId id="2147485583" r:id="rId2"/>
    <p:sldLayoutId id="2147485584" r:id="rId3"/>
    <p:sldLayoutId id="2147485585" r:id="rId4"/>
    <p:sldLayoutId id="2147485227" r:id="rId5"/>
    <p:sldLayoutId id="2147485228" r:id="rId6"/>
    <p:sldLayoutId id="2147485230" r:id="rId7"/>
    <p:sldLayoutId id="2147485231" r:id="rId8"/>
    <p:sldLayoutId id="2147485246" r:id="rId9"/>
    <p:sldLayoutId id="2147485248" r:id="rId10"/>
    <p:sldLayoutId id="2147485249" r:id="rId11"/>
    <p:sldLayoutId id="2147485250" r:id="rId12"/>
    <p:sldLayoutId id="2147487054" r:id="rId13"/>
    <p:sldLayoutId id="2147487055" r:id="rId14"/>
    <p:sldLayoutId id="2147487056" r:id="rId15"/>
    <p:sldLayoutId id="2147485580" r:id="rId16"/>
    <p:sldLayoutId id="2147485535" r:id="rId17"/>
    <p:sldLayoutId id="2147485536" r:id="rId18"/>
    <p:sldLayoutId id="2147485537" r:id="rId19"/>
    <p:sldLayoutId id="2147485589" r:id="rId20"/>
    <p:sldLayoutId id="2147485541" r:id="rId21"/>
    <p:sldLayoutId id="2147485236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ctr" defTabSz="543505" rtl="0" eaLnBrk="1" latinLnBrk="0" hangingPunct="1">
        <a:spcBef>
          <a:spcPct val="0"/>
        </a:spcBef>
        <a:buNone/>
        <a:defRPr sz="4000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l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6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8553BED-6869-4144-A142-3C5876DC7E3F}"/>
              </a:ext>
            </a:extLst>
          </p:cNvPr>
          <p:cNvSpPr txBox="1"/>
          <p:nvPr userDrawn="1"/>
        </p:nvSpPr>
        <p:spPr>
          <a:xfrm>
            <a:off x="10091057" y="6464554"/>
            <a:ext cx="20029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Internal | 2020 | </a:t>
            </a:r>
            <a:fld id="{C3C623EA-CD16-E442-AC01-D640FC63C9A8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9B52EA5-4C1C-DF41-8A03-F82867E462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/>
          <a:srcRect t="8840" b="29855"/>
          <a:stretch/>
        </p:blipFill>
        <p:spPr>
          <a:xfrm>
            <a:off x="9556012" y="6399054"/>
            <a:ext cx="685070" cy="368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38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959" r:id="rId1"/>
    <p:sldLayoutId id="2147486960" r:id="rId2"/>
    <p:sldLayoutId id="2147486961" r:id="rId3"/>
    <p:sldLayoutId id="2147486962" r:id="rId4"/>
    <p:sldLayoutId id="2147486963" r:id="rId5"/>
    <p:sldLayoutId id="2147486964" r:id="rId6"/>
    <p:sldLayoutId id="2147486965" r:id="rId7"/>
    <p:sldLayoutId id="2147486966" r:id="rId8"/>
    <p:sldLayoutId id="2147486967" r:id="rId9"/>
    <p:sldLayoutId id="2147486968" r:id="rId10"/>
    <p:sldLayoutId id="2147486969" r:id="rId11"/>
    <p:sldLayoutId id="2147486970" r:id="rId12"/>
    <p:sldLayoutId id="2147486971" r:id="rId13"/>
    <p:sldLayoutId id="2147486972" r:id="rId14"/>
    <p:sldLayoutId id="2147486973" r:id="rId15"/>
    <p:sldLayoutId id="2147486974" r:id="rId16"/>
    <p:sldLayoutId id="2147486975" r:id="rId17"/>
    <p:sldLayoutId id="2147486976" r:id="rId18"/>
    <p:sldLayoutId id="2147486977" r:id="rId19"/>
    <p:sldLayoutId id="2147486978" r:id="rId20"/>
    <p:sldLayoutId id="2147486979" r:id="rId21"/>
    <p:sldLayoutId id="2147486980" r:id="rId22"/>
    <p:sldLayoutId id="2147486981" r:id="rId23"/>
    <p:sldLayoutId id="2147486982" r:id="rId24"/>
    <p:sldLayoutId id="2147486983" r:id="rId25"/>
    <p:sldLayoutId id="2147486984" r:id="rId26"/>
    <p:sldLayoutId id="2147486985" r:id="rId27"/>
    <p:sldLayoutId id="2147486986" r:id="rId28"/>
    <p:sldLayoutId id="2147486987" r:id="rId29"/>
    <p:sldLayoutId id="2147486988" r:id="rId30"/>
    <p:sldLayoutId id="2147486989" r:id="rId31"/>
    <p:sldLayoutId id="2147486990" r:id="rId32"/>
    <p:sldLayoutId id="2147486991" r:id="rId33"/>
    <p:sldLayoutId id="2147486992" r:id="rId34"/>
    <p:sldLayoutId id="2147486993" r:id="rId35"/>
    <p:sldLayoutId id="2147486994" r:id="rId36"/>
    <p:sldLayoutId id="2147486995" r:id="rId37"/>
    <p:sldLayoutId id="2147486996" r:id="rId38"/>
    <p:sldLayoutId id="2147486997" r:id="rId39"/>
    <p:sldLayoutId id="2147486998" r:id="rId40"/>
    <p:sldLayoutId id="2147486999" r:id="rId41"/>
    <p:sldLayoutId id="2147487000" r:id="rId42"/>
    <p:sldLayoutId id="2147487001" r:id="rId4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543505" rtl="0" eaLnBrk="1" latinLnBrk="0" hangingPunct="1">
        <a:spcBef>
          <a:spcPct val="0"/>
        </a:spcBef>
        <a:buNone/>
        <a:defRPr sz="2999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2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C853CF0-1FF9-0649-8875-CA7590D98506}"/>
              </a:ext>
            </a:extLst>
          </p:cNvPr>
          <p:cNvSpPr txBox="1"/>
          <p:nvPr userDrawn="1"/>
        </p:nvSpPr>
        <p:spPr>
          <a:xfrm>
            <a:off x="9382540" y="6416124"/>
            <a:ext cx="21567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  |  2020  |</a:t>
            </a:r>
          </a:p>
        </p:txBody>
      </p:sp>
      <p:pic>
        <p:nvPicPr>
          <p:cNvPr id="8" name="Picture 7" descr="sgicon_transparent.png">
            <a:extLst>
              <a:ext uri="{FF2B5EF4-FFF2-40B4-BE49-F238E27FC236}">
                <a16:creationId xmlns:a16="http://schemas.microsoft.com/office/drawing/2014/main" id="{C452FFFA-E04A-5F48-8A9B-1E41509563DB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9463" y="6409511"/>
            <a:ext cx="324249" cy="27483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6482268-E1F6-C843-883E-6702C2F315AC}"/>
              </a:ext>
            </a:extLst>
          </p:cNvPr>
          <p:cNvSpPr txBox="1"/>
          <p:nvPr userDrawn="1"/>
        </p:nvSpPr>
        <p:spPr>
          <a:xfrm>
            <a:off x="11404235" y="6449145"/>
            <a:ext cx="3699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873666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49" r:id="rId1"/>
    <p:sldLayoutId id="2147487250" r:id="rId2"/>
    <p:sldLayoutId id="2147487251" r:id="rId3"/>
    <p:sldLayoutId id="2147487252" r:id="rId4"/>
    <p:sldLayoutId id="2147487138" r:id="rId5"/>
    <p:sldLayoutId id="2147487139" r:id="rId6"/>
    <p:sldLayoutId id="2147487253" r:id="rId7"/>
    <p:sldLayoutId id="2147487140" r:id="rId8"/>
    <p:sldLayoutId id="2147487141" r:id="rId9"/>
    <p:sldLayoutId id="2147484352" r:id="rId10"/>
    <p:sldLayoutId id="2147487142" r:id="rId11"/>
    <p:sldLayoutId id="2147487143" r:id="rId12"/>
    <p:sldLayoutId id="2147487144" r:id="rId13"/>
    <p:sldLayoutId id="2147487145" r:id="rId14"/>
    <p:sldLayoutId id="2147487146" r:id="rId15"/>
    <p:sldLayoutId id="2147487147" r:id="rId16"/>
    <p:sldLayoutId id="2147487148" r:id="rId17"/>
    <p:sldLayoutId id="2147487199" r:id="rId18"/>
    <p:sldLayoutId id="2147487200" r:id="rId19"/>
    <p:sldLayoutId id="2147487201" r:id="rId20"/>
    <p:sldLayoutId id="2147487135" r:id="rId21"/>
    <p:sldLayoutId id="2147483982" r:id="rId22"/>
    <p:sldLayoutId id="2147487203" r:id="rId23"/>
    <p:sldLayoutId id="2147487204" r:id="rId24"/>
    <p:sldLayoutId id="2147487165" r:id="rId25"/>
    <p:sldLayoutId id="2147487166" r:id="rId26"/>
    <p:sldLayoutId id="2147487167" r:id="rId27"/>
    <p:sldLayoutId id="2147487168" r:id="rId28"/>
    <p:sldLayoutId id="2147487169" r:id="rId29"/>
    <p:sldLayoutId id="2147484300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ctr" defTabSz="543505" rtl="0" eaLnBrk="1" latinLnBrk="0" hangingPunct="1">
        <a:spcBef>
          <a:spcPct val="0"/>
        </a:spcBef>
        <a:buNone/>
        <a:defRPr sz="4000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l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6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 vert="horz" lIns="217490" tIns="108745" rIns="217490" bIns="108745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1" cy="4525963"/>
          </a:xfrm>
          <a:prstGeom prst="rect">
            <a:avLst/>
          </a:prstGeom>
        </p:spPr>
        <p:txBody>
          <a:bodyPr vert="horz" lIns="217490" tIns="108745" rIns="217490" bIns="108745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553BED-6869-4144-A142-3C5876DC7E3F}"/>
              </a:ext>
            </a:extLst>
          </p:cNvPr>
          <p:cNvSpPr txBox="1"/>
          <p:nvPr userDrawn="1"/>
        </p:nvSpPr>
        <p:spPr>
          <a:xfrm>
            <a:off x="10135017" y="6464554"/>
            <a:ext cx="18646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Internal | 2020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9B52EA5-4C1C-DF41-8A03-F82867E462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6"/>
          <a:srcRect t="8840" b="29855"/>
          <a:stretch/>
        </p:blipFill>
        <p:spPr>
          <a:xfrm>
            <a:off x="9556012" y="6399054"/>
            <a:ext cx="685070" cy="368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566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4302" r:id="rId3"/>
    <p:sldLayoutId id="2147484315" r:id="rId4"/>
    <p:sldLayoutId id="2147484032" r:id="rId5"/>
    <p:sldLayoutId id="2147484033" r:id="rId6"/>
    <p:sldLayoutId id="2147484034" r:id="rId7"/>
    <p:sldLayoutId id="2147484035" r:id="rId8"/>
    <p:sldLayoutId id="2147484036" r:id="rId9"/>
    <p:sldLayoutId id="2147484037" r:id="rId10"/>
    <p:sldLayoutId id="2147484038" r:id="rId11"/>
    <p:sldLayoutId id="2147484039" r:id="rId12"/>
    <p:sldLayoutId id="2147484040" r:id="rId13"/>
    <p:sldLayoutId id="2147484041" r:id="rId14"/>
    <p:sldLayoutId id="2147484042" r:id="rId15"/>
    <p:sldLayoutId id="2147484043" r:id="rId16"/>
    <p:sldLayoutId id="2147484044" r:id="rId17"/>
    <p:sldLayoutId id="2147484045" r:id="rId18"/>
    <p:sldLayoutId id="2147487223" r:id="rId19"/>
    <p:sldLayoutId id="2147487224" r:id="rId20"/>
    <p:sldLayoutId id="2147487225" r:id="rId21"/>
    <p:sldLayoutId id="2147487226" r:id="rId22"/>
    <p:sldLayoutId id="2147487227" r:id="rId23"/>
    <p:sldLayoutId id="2147487228" r:id="rId24"/>
    <p:sldLayoutId id="2147487229" r:id="rId25"/>
    <p:sldLayoutId id="2147487230" r:id="rId26"/>
    <p:sldLayoutId id="2147487231" r:id="rId27"/>
    <p:sldLayoutId id="2147487232" r:id="rId28"/>
    <p:sldLayoutId id="2147487233" r:id="rId29"/>
    <p:sldLayoutId id="2147487234" r:id="rId30"/>
    <p:sldLayoutId id="2147487235" r:id="rId31"/>
    <p:sldLayoutId id="2147487236" r:id="rId32"/>
    <p:sldLayoutId id="2147487237" r:id="rId33"/>
    <p:sldLayoutId id="2147487238" r:id="rId34"/>
    <p:sldLayoutId id="2147484006" r:id="rId35"/>
    <p:sldLayoutId id="2147487240" r:id="rId36"/>
    <p:sldLayoutId id="2147487241" r:id="rId37"/>
    <p:sldLayoutId id="2147487242" r:id="rId38"/>
    <p:sldLayoutId id="2147487243" r:id="rId39"/>
    <p:sldLayoutId id="2147487244" r:id="rId40"/>
    <p:sldLayoutId id="2147487245" r:id="rId41"/>
    <p:sldLayoutId id="2147487246" r:id="rId42"/>
    <p:sldLayoutId id="2147487247" r:id="rId43"/>
    <p:sldLayoutId id="2147483900" r:id="rId4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543505" rtl="0" eaLnBrk="1" latinLnBrk="0" hangingPunct="1">
        <a:spcBef>
          <a:spcPct val="0"/>
        </a:spcBef>
        <a:buNone/>
        <a:defRPr sz="2999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2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84">
            <a:extLst>
              <a:ext uri="{FF2B5EF4-FFF2-40B4-BE49-F238E27FC236}">
                <a16:creationId xmlns:a16="http://schemas.microsoft.com/office/drawing/2014/main" id="{B77F95F1-FC14-4D26-8B38-03C449DDC53E}"/>
              </a:ext>
            </a:extLst>
          </p:cNvPr>
          <p:cNvGrpSpPr/>
          <p:nvPr/>
        </p:nvGrpSpPr>
        <p:grpSpPr>
          <a:xfrm>
            <a:off x="168143" y="1702527"/>
            <a:ext cx="5326966" cy="3619077"/>
            <a:chOff x="1744394" y="1702527"/>
            <a:chExt cx="5326966" cy="3619077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1591EBA1-2459-414B-9231-FCCBC2AE9F05}"/>
                </a:ext>
              </a:extLst>
            </p:cNvPr>
            <p:cNvSpPr/>
            <p:nvPr/>
          </p:nvSpPr>
          <p:spPr>
            <a:xfrm>
              <a:off x="1744394" y="1702527"/>
              <a:ext cx="5326966" cy="361907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orage Set 1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E45F8B8A-9710-4949-A45D-E5B56DCE3663}"/>
                </a:ext>
              </a:extLst>
            </p:cNvPr>
            <p:cNvGrpSpPr/>
            <p:nvPr/>
          </p:nvGrpSpPr>
          <p:grpSpPr>
            <a:xfrm>
              <a:off x="1863636" y="2704007"/>
              <a:ext cx="1184365" cy="2451466"/>
              <a:chOff x="1863636" y="2076992"/>
              <a:chExt cx="1184365" cy="2451466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B0B92D9-0731-5248-8DD9-4ED6B25895A8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1</a:t>
                </a:r>
              </a:p>
            </p:txBody>
          </p:sp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DCE6420D-D1F2-42A7-8BF4-BC6D8224FF8C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23" name="Arrow: Up-Down 22">
                <a:extLst>
                  <a:ext uri="{FF2B5EF4-FFF2-40B4-BE49-F238E27FC236}">
                    <a16:creationId xmlns:a16="http://schemas.microsoft.com/office/drawing/2014/main" id="{5FEB1230-B551-44D3-B41C-BE596B676651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CA63DA23-7B21-4615-BCB0-07ACEF7C2234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1</a:t>
                </a: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C7852AD7-8ECB-44DF-8F4F-70313A738BB9}"/>
                </a:ext>
              </a:extLst>
            </p:cNvPr>
            <p:cNvGrpSpPr/>
            <p:nvPr/>
          </p:nvGrpSpPr>
          <p:grpSpPr>
            <a:xfrm>
              <a:off x="3444246" y="2699650"/>
              <a:ext cx="1184365" cy="2451466"/>
              <a:chOff x="1863636" y="2076992"/>
              <a:chExt cx="1184365" cy="2451466"/>
            </a:xfrm>
          </p:grpSpPr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A54B63BB-3B03-4051-9028-878BB92BA5B5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73" name="Rectangle: Rounded Corners 72">
                <a:extLst>
                  <a:ext uri="{FF2B5EF4-FFF2-40B4-BE49-F238E27FC236}">
                    <a16:creationId xmlns:a16="http://schemas.microsoft.com/office/drawing/2014/main" id="{54225798-1161-45DB-AC55-32AD36F2AA0C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74" name="Arrow: Up-Down 73">
                <a:extLst>
                  <a:ext uri="{FF2B5EF4-FFF2-40B4-BE49-F238E27FC236}">
                    <a16:creationId xmlns:a16="http://schemas.microsoft.com/office/drawing/2014/main" id="{79A06B7D-93C0-49F2-B372-C42E90BE06BC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C5534C58-6056-466A-83C1-894003EC27DC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2</a:t>
                </a:r>
              </a:p>
            </p:txBody>
          </p:sp>
        </p:grp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993184DE-D02B-495A-A112-F1886A01C2A3}"/>
                </a:ext>
              </a:extLst>
            </p:cNvPr>
            <p:cNvSpPr/>
            <p:nvPr/>
          </p:nvSpPr>
          <p:spPr>
            <a:xfrm>
              <a:off x="1863636" y="2178182"/>
              <a:ext cx="5053324" cy="307440"/>
            </a:xfrm>
            <a:prstGeom prst="rect">
              <a:avLst/>
            </a:prstGeom>
            <a:solidFill>
              <a:schemeClr val="accent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twork</a:t>
              </a:r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5935214A-A82F-41BB-BC72-1D747966402B}"/>
                </a:ext>
              </a:extLst>
            </p:cNvPr>
            <p:cNvGrpSpPr/>
            <p:nvPr/>
          </p:nvGrpSpPr>
          <p:grpSpPr>
            <a:xfrm>
              <a:off x="5732594" y="2687445"/>
              <a:ext cx="1184365" cy="2451466"/>
              <a:chOff x="1863636" y="2076992"/>
              <a:chExt cx="1184365" cy="2451466"/>
            </a:xfrm>
          </p:grpSpPr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E93D09DB-6702-4B77-B41D-88241AC3BFEC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79" name="Rectangle: Rounded Corners 78">
                <a:extLst>
                  <a:ext uri="{FF2B5EF4-FFF2-40B4-BE49-F238E27FC236}">
                    <a16:creationId xmlns:a16="http://schemas.microsoft.com/office/drawing/2014/main" id="{7B8E132C-0A26-42D5-95EB-F5A95103D3A9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80" name="Arrow: Up-Down 79">
                <a:extLst>
                  <a:ext uri="{FF2B5EF4-FFF2-40B4-BE49-F238E27FC236}">
                    <a16:creationId xmlns:a16="http://schemas.microsoft.com/office/drawing/2014/main" id="{C335085A-7E5E-47D9-AE0A-776A8D644EA0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A8975029-74B0-473D-B343-8280AD8F8CE2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N1</a:t>
                </a:r>
              </a:p>
            </p:txBody>
          </p:sp>
        </p:grp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CB95F0C1-D190-4D4A-BA7A-3A4CB388F5E8}"/>
                </a:ext>
              </a:extLst>
            </p:cNvPr>
            <p:cNvCxnSpPr>
              <a:cxnSpLocks/>
            </p:cNvCxnSpPr>
            <p:nvPr/>
          </p:nvCxnSpPr>
          <p:spPr>
            <a:xfrm>
              <a:off x="4824548" y="3782122"/>
              <a:ext cx="679270" cy="0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62D70EA-5407-4B7A-B8D8-523AFA3AF8B6}"/>
              </a:ext>
            </a:extLst>
          </p:cNvPr>
          <p:cNvGrpSpPr/>
          <p:nvPr/>
        </p:nvGrpSpPr>
        <p:grpSpPr>
          <a:xfrm>
            <a:off x="5953146" y="1693819"/>
            <a:ext cx="5326966" cy="3619077"/>
            <a:chOff x="1744394" y="1702527"/>
            <a:chExt cx="5326966" cy="3619077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89160422-7032-41B3-95DD-23AAED26A426}"/>
                </a:ext>
              </a:extLst>
            </p:cNvPr>
            <p:cNvSpPr/>
            <p:nvPr/>
          </p:nvSpPr>
          <p:spPr>
            <a:xfrm>
              <a:off x="1744394" y="1702527"/>
              <a:ext cx="5326966" cy="361907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orage Set 2</a:t>
              </a:r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931D12E2-7369-4AEE-B1B5-D4FA242AB6AD}"/>
                </a:ext>
              </a:extLst>
            </p:cNvPr>
            <p:cNvGrpSpPr/>
            <p:nvPr/>
          </p:nvGrpSpPr>
          <p:grpSpPr>
            <a:xfrm>
              <a:off x="1863636" y="2704007"/>
              <a:ext cx="1184365" cy="2451466"/>
              <a:chOff x="1863636" y="2076992"/>
              <a:chExt cx="1184365" cy="2451466"/>
            </a:xfrm>
          </p:grpSpPr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15D42D5C-2C45-4D8A-9CF2-59206A01DCA6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1</a:t>
                </a:r>
              </a:p>
            </p:txBody>
          </p:sp>
          <p:sp>
            <p:nvSpPr>
              <p:cNvPr id="102" name="Rectangle: Rounded Corners 101">
                <a:extLst>
                  <a:ext uri="{FF2B5EF4-FFF2-40B4-BE49-F238E27FC236}">
                    <a16:creationId xmlns:a16="http://schemas.microsoft.com/office/drawing/2014/main" id="{5C170594-3E2E-4B7D-8E30-964505FF3E5A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103" name="Arrow: Up-Down 102">
                <a:extLst>
                  <a:ext uri="{FF2B5EF4-FFF2-40B4-BE49-F238E27FC236}">
                    <a16:creationId xmlns:a16="http://schemas.microsoft.com/office/drawing/2014/main" id="{AEB87120-2324-446C-B03D-1E27193963D9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77BBB38B-60B4-4377-8EE5-43E479E06E13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1</a:t>
                </a: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94789276-D8A2-46B8-8BA4-C12B696878C3}"/>
                </a:ext>
              </a:extLst>
            </p:cNvPr>
            <p:cNvGrpSpPr/>
            <p:nvPr/>
          </p:nvGrpSpPr>
          <p:grpSpPr>
            <a:xfrm>
              <a:off x="3444246" y="2699650"/>
              <a:ext cx="1184365" cy="2451466"/>
              <a:chOff x="1863636" y="2076992"/>
              <a:chExt cx="1184365" cy="2451466"/>
            </a:xfrm>
          </p:grpSpPr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67FFA457-3A7D-432D-837D-C9003C26DD30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98" name="Rectangle: Rounded Corners 97">
                <a:extLst>
                  <a:ext uri="{FF2B5EF4-FFF2-40B4-BE49-F238E27FC236}">
                    <a16:creationId xmlns:a16="http://schemas.microsoft.com/office/drawing/2014/main" id="{656DBC7C-6F52-4EB1-B4B2-063BA0FDC3AA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99" name="Arrow: Up-Down 98">
                <a:extLst>
                  <a:ext uri="{FF2B5EF4-FFF2-40B4-BE49-F238E27FC236}">
                    <a16:creationId xmlns:a16="http://schemas.microsoft.com/office/drawing/2014/main" id="{B962CD8B-97F6-4FEE-BA7D-BC95F7E9286B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DDC13174-773E-4654-B78C-F1F684FB7FFB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2</a:t>
                </a:r>
              </a:p>
            </p:txBody>
          </p:sp>
        </p:grp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9A95393C-E110-42D9-B717-21A1AF7F35B0}"/>
                </a:ext>
              </a:extLst>
            </p:cNvPr>
            <p:cNvSpPr/>
            <p:nvPr/>
          </p:nvSpPr>
          <p:spPr>
            <a:xfrm>
              <a:off x="1863636" y="2178182"/>
              <a:ext cx="5053324" cy="307440"/>
            </a:xfrm>
            <a:prstGeom prst="rect">
              <a:avLst/>
            </a:prstGeom>
            <a:solidFill>
              <a:schemeClr val="accent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twork</a:t>
              </a:r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BF24D8D8-4143-4A50-842B-C62881928686}"/>
                </a:ext>
              </a:extLst>
            </p:cNvPr>
            <p:cNvGrpSpPr/>
            <p:nvPr/>
          </p:nvGrpSpPr>
          <p:grpSpPr>
            <a:xfrm>
              <a:off x="5732594" y="2687445"/>
              <a:ext cx="1184365" cy="2451466"/>
              <a:chOff x="1863636" y="2076992"/>
              <a:chExt cx="1184365" cy="2451466"/>
            </a:xfrm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CB8B40DA-82E0-44D1-A3E1-1FC804C6B11E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94" name="Rectangle: Rounded Corners 93">
                <a:extLst>
                  <a:ext uri="{FF2B5EF4-FFF2-40B4-BE49-F238E27FC236}">
                    <a16:creationId xmlns:a16="http://schemas.microsoft.com/office/drawing/2014/main" id="{11EFA935-D492-4AC6-91F0-2A3A1809D7E8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95" name="Arrow: Up-Down 94">
                <a:extLst>
                  <a:ext uri="{FF2B5EF4-FFF2-40B4-BE49-F238E27FC236}">
                    <a16:creationId xmlns:a16="http://schemas.microsoft.com/office/drawing/2014/main" id="{853280E6-4D77-431F-8F31-01F1C94ED974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5F321B02-D5C6-4427-A239-F5E7956184A7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N2</a:t>
                </a:r>
              </a:p>
            </p:txBody>
          </p:sp>
        </p:grp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BCE28F5-1DE7-474F-8627-914DACE3A2E7}"/>
                </a:ext>
              </a:extLst>
            </p:cNvPr>
            <p:cNvCxnSpPr>
              <a:cxnSpLocks/>
            </p:cNvCxnSpPr>
            <p:nvPr/>
          </p:nvCxnSpPr>
          <p:spPr>
            <a:xfrm>
              <a:off x="4824548" y="3782122"/>
              <a:ext cx="679270" cy="0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sp>
        <p:nvSpPr>
          <p:cNvPr id="105" name="Arrow: Up-Down 104">
            <a:extLst>
              <a:ext uri="{FF2B5EF4-FFF2-40B4-BE49-F238E27FC236}">
                <a16:creationId xmlns:a16="http://schemas.microsoft.com/office/drawing/2014/main" id="{F48FCF99-9EC0-46D8-8CD4-C950098D1668}"/>
              </a:ext>
            </a:extLst>
          </p:cNvPr>
          <p:cNvSpPr/>
          <p:nvPr/>
        </p:nvSpPr>
        <p:spPr>
          <a:xfrm rot="5400000">
            <a:off x="5647274" y="2165287"/>
            <a:ext cx="163779" cy="317156"/>
          </a:xfrm>
          <a:prstGeom prst="upDownArrow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026223" y="935676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algn="l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CORTXv2 Cluster  with Storage Set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6B3D8EA5-1104-4B8E-8D34-FD685F1DCDBC}"/>
              </a:ext>
            </a:extLst>
          </p:cNvPr>
          <p:cNvCxnSpPr/>
          <p:nvPr/>
        </p:nvCxnSpPr>
        <p:spPr>
          <a:xfrm>
            <a:off x="11408227" y="3771230"/>
            <a:ext cx="37446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758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1591EBA1-2459-414B-9231-FCCBC2AE9F05}"/>
              </a:ext>
            </a:extLst>
          </p:cNvPr>
          <p:cNvSpPr/>
          <p:nvPr/>
        </p:nvSpPr>
        <p:spPr>
          <a:xfrm>
            <a:off x="535790" y="750419"/>
            <a:ext cx="5326966" cy="577293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age Set 1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45F8B8A-9710-4949-A45D-E5B56DCE3663}"/>
              </a:ext>
            </a:extLst>
          </p:cNvPr>
          <p:cNvGrpSpPr/>
          <p:nvPr/>
        </p:nvGrpSpPr>
        <p:grpSpPr>
          <a:xfrm>
            <a:off x="655032" y="1751899"/>
            <a:ext cx="1184365" cy="1217544"/>
            <a:chOff x="1863636" y="2076992"/>
            <a:chExt cx="1184365" cy="12175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B0B92D9-0731-5248-8DD9-4ED6B25895A8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1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A63DA23-7B21-4615-BCB0-07ACEF7C2234}"/>
                </a:ext>
              </a:extLst>
            </p:cNvPr>
            <p:cNvSpPr/>
            <p:nvPr/>
          </p:nvSpPr>
          <p:spPr>
            <a:xfrm>
              <a:off x="1863636" y="2076992"/>
              <a:ext cx="1184365" cy="1217544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1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C7852AD7-8ECB-44DF-8F4F-70313A738BB9}"/>
              </a:ext>
            </a:extLst>
          </p:cNvPr>
          <p:cNvGrpSpPr/>
          <p:nvPr/>
        </p:nvGrpSpPr>
        <p:grpSpPr>
          <a:xfrm>
            <a:off x="2235642" y="1747542"/>
            <a:ext cx="1184365" cy="1217540"/>
            <a:chOff x="1863636" y="2076992"/>
            <a:chExt cx="1184365" cy="121754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A54B63BB-3B03-4051-9028-878BB92BA5B5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C5534C58-6056-466A-83C1-894003EC27DC}"/>
                </a:ext>
              </a:extLst>
            </p:cNvPr>
            <p:cNvSpPr/>
            <p:nvPr/>
          </p:nvSpPr>
          <p:spPr>
            <a:xfrm>
              <a:off x="1863636" y="2076992"/>
              <a:ext cx="1184365" cy="1217540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2</a:t>
              </a: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993184DE-D02B-495A-A112-F1886A01C2A3}"/>
              </a:ext>
            </a:extLst>
          </p:cNvPr>
          <p:cNvSpPr/>
          <p:nvPr/>
        </p:nvSpPr>
        <p:spPr>
          <a:xfrm>
            <a:off x="655032" y="1226074"/>
            <a:ext cx="5053324" cy="30744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work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935214A-A82F-41BB-BC72-1D747966402B}"/>
              </a:ext>
            </a:extLst>
          </p:cNvPr>
          <p:cNvGrpSpPr/>
          <p:nvPr/>
        </p:nvGrpSpPr>
        <p:grpSpPr>
          <a:xfrm>
            <a:off x="4523990" y="1735337"/>
            <a:ext cx="1184365" cy="1229742"/>
            <a:chOff x="1863636" y="2076992"/>
            <a:chExt cx="1184365" cy="1229742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93D09DB-6702-4B77-B41D-88241AC3BFEC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8975029-74B0-473D-B343-8280AD8F8CE2}"/>
                </a:ext>
              </a:extLst>
            </p:cNvPr>
            <p:cNvSpPr/>
            <p:nvPr/>
          </p:nvSpPr>
          <p:spPr>
            <a:xfrm>
              <a:off x="1863636" y="2076992"/>
              <a:ext cx="1184365" cy="1229742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N1</a:t>
              </a:r>
            </a:p>
          </p:txBody>
        </p:sp>
      </p:grp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CB95F0C1-D190-4D4A-BA7A-3A4CB388F5E8}"/>
              </a:ext>
            </a:extLst>
          </p:cNvPr>
          <p:cNvCxnSpPr>
            <a:cxnSpLocks/>
          </p:cNvCxnSpPr>
          <p:nvPr/>
        </p:nvCxnSpPr>
        <p:spPr>
          <a:xfrm>
            <a:off x="3615944" y="2830014"/>
            <a:ext cx="679270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7" name="Rectangle 86">
            <a:extLst>
              <a:ext uri="{FF2B5EF4-FFF2-40B4-BE49-F238E27FC236}">
                <a16:creationId xmlns:a16="http://schemas.microsoft.com/office/drawing/2014/main" id="{89160422-7032-41B3-95DD-23AAED26A426}"/>
              </a:ext>
            </a:extLst>
          </p:cNvPr>
          <p:cNvSpPr/>
          <p:nvPr/>
        </p:nvSpPr>
        <p:spPr>
          <a:xfrm>
            <a:off x="6320793" y="741711"/>
            <a:ext cx="5326966" cy="577293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age Set 2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931D12E2-7369-4AEE-B1B5-D4FA242AB6AD}"/>
              </a:ext>
            </a:extLst>
          </p:cNvPr>
          <p:cNvGrpSpPr/>
          <p:nvPr/>
        </p:nvGrpSpPr>
        <p:grpSpPr>
          <a:xfrm>
            <a:off x="6440035" y="1743191"/>
            <a:ext cx="1184365" cy="1221888"/>
            <a:chOff x="1863636" y="2076992"/>
            <a:chExt cx="1184365" cy="1221888"/>
          </a:xfrm>
        </p:grpSpPr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15D42D5C-2C45-4D8A-9CF2-59206A01DCA6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1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77BBB38B-60B4-4377-8EE5-43E479E06E13}"/>
                </a:ext>
              </a:extLst>
            </p:cNvPr>
            <p:cNvSpPr/>
            <p:nvPr/>
          </p:nvSpPr>
          <p:spPr>
            <a:xfrm>
              <a:off x="1863636" y="2076992"/>
              <a:ext cx="1184365" cy="1221888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1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4789276-D8A2-46B8-8BA4-C12B696878C3}"/>
              </a:ext>
            </a:extLst>
          </p:cNvPr>
          <p:cNvGrpSpPr/>
          <p:nvPr/>
        </p:nvGrpSpPr>
        <p:grpSpPr>
          <a:xfrm>
            <a:off x="8020645" y="1738834"/>
            <a:ext cx="1184365" cy="1230607"/>
            <a:chOff x="1863636" y="2076992"/>
            <a:chExt cx="1184365" cy="1230607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67FFA457-3A7D-432D-837D-C9003C26DD30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DDC13174-773E-4654-B78C-F1F684FB7FFB}"/>
                </a:ext>
              </a:extLst>
            </p:cNvPr>
            <p:cNvSpPr/>
            <p:nvPr/>
          </p:nvSpPr>
          <p:spPr>
            <a:xfrm>
              <a:off x="1863636" y="2076992"/>
              <a:ext cx="1184365" cy="1230607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2</a:t>
              </a:r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9A95393C-E110-42D9-B717-21A1AF7F35B0}"/>
              </a:ext>
            </a:extLst>
          </p:cNvPr>
          <p:cNvSpPr/>
          <p:nvPr/>
        </p:nvSpPr>
        <p:spPr>
          <a:xfrm>
            <a:off x="6440035" y="1217366"/>
            <a:ext cx="5053324" cy="30744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work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BF24D8D8-4143-4A50-842B-C62881928686}"/>
              </a:ext>
            </a:extLst>
          </p:cNvPr>
          <p:cNvGrpSpPr/>
          <p:nvPr/>
        </p:nvGrpSpPr>
        <p:grpSpPr>
          <a:xfrm>
            <a:off x="10308993" y="1726629"/>
            <a:ext cx="1184365" cy="1238449"/>
            <a:chOff x="1863636" y="2076992"/>
            <a:chExt cx="1184365" cy="1238449"/>
          </a:xfrm>
        </p:grpSpPr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CB8B40DA-82E0-44D1-A3E1-1FC804C6B11E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5F321B02-D5C6-4427-A239-F5E7956184A7}"/>
                </a:ext>
              </a:extLst>
            </p:cNvPr>
            <p:cNvSpPr/>
            <p:nvPr/>
          </p:nvSpPr>
          <p:spPr>
            <a:xfrm>
              <a:off x="1863636" y="2076992"/>
              <a:ext cx="1184365" cy="1238449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N2</a:t>
              </a:r>
            </a:p>
          </p:txBody>
        </p: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4BCE28F5-1DE7-474F-8627-914DACE3A2E7}"/>
              </a:ext>
            </a:extLst>
          </p:cNvPr>
          <p:cNvCxnSpPr>
            <a:cxnSpLocks/>
          </p:cNvCxnSpPr>
          <p:nvPr/>
        </p:nvCxnSpPr>
        <p:spPr>
          <a:xfrm>
            <a:off x="9400947" y="2821306"/>
            <a:ext cx="679270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5" name="Arrow: Up-Down 104">
            <a:extLst>
              <a:ext uri="{FF2B5EF4-FFF2-40B4-BE49-F238E27FC236}">
                <a16:creationId xmlns:a16="http://schemas.microsoft.com/office/drawing/2014/main" id="{F48FCF99-9EC0-46D8-8CD4-C950098D1668}"/>
              </a:ext>
            </a:extLst>
          </p:cNvPr>
          <p:cNvSpPr/>
          <p:nvPr/>
        </p:nvSpPr>
        <p:spPr>
          <a:xfrm rot="5400000">
            <a:off x="6014921" y="1213179"/>
            <a:ext cx="163779" cy="317156"/>
          </a:xfrm>
          <a:prstGeom prst="upDownArrow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3789039" y="-16432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algn="l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Server Metadata Layout 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E4B76C9-3548-4F98-BE3F-112498936794}"/>
              </a:ext>
            </a:extLst>
          </p:cNvPr>
          <p:cNvSpPr/>
          <p:nvPr/>
        </p:nvSpPr>
        <p:spPr>
          <a:xfrm>
            <a:off x="6342460" y="2292226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279C243-9785-49EB-BE6B-916CAAA3591C}"/>
              </a:ext>
            </a:extLst>
          </p:cNvPr>
          <p:cNvSpPr/>
          <p:nvPr/>
        </p:nvSpPr>
        <p:spPr>
          <a:xfrm>
            <a:off x="726363" y="3270189"/>
            <a:ext cx="10766995" cy="307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obal Bucket Index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7F25458-AA07-4D37-8260-62C7F4F96CCF}"/>
              </a:ext>
            </a:extLst>
          </p:cNvPr>
          <p:cNvSpPr/>
          <p:nvPr/>
        </p:nvSpPr>
        <p:spPr>
          <a:xfrm>
            <a:off x="737359" y="3601700"/>
            <a:ext cx="10766995" cy="307439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cket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Account ID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CE4CE24-F0B5-4FCB-A7AF-7CA53BA32F09}"/>
              </a:ext>
            </a:extLst>
          </p:cNvPr>
          <p:cNvSpPr/>
          <p:nvPr/>
        </p:nvSpPr>
        <p:spPr>
          <a:xfrm>
            <a:off x="784493" y="4223869"/>
            <a:ext cx="10766995" cy="307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cket List Index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6DF88EA-0A3C-4353-B30C-4E405F1CDB33}"/>
              </a:ext>
            </a:extLst>
          </p:cNvPr>
          <p:cNvSpPr/>
          <p:nvPr/>
        </p:nvSpPr>
        <p:spPr>
          <a:xfrm>
            <a:off x="795489" y="4555380"/>
            <a:ext cx="10766995" cy="414836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Ke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AcctID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/Bucket​ </a:t>
            </a:r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Valu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​Obj List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Indx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,​ Multipart obj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indx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​, Version list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indx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Pool Version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for SS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C494CC8-3EF4-4740-96BB-CE9FCD371651}"/>
              </a:ext>
            </a:extLst>
          </p:cNvPr>
          <p:cNvSpPr/>
          <p:nvPr/>
        </p:nvSpPr>
        <p:spPr>
          <a:xfrm>
            <a:off x="631567" y="5320993"/>
            <a:ext cx="5073113" cy="307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ject List Index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5E2E387-2D51-498D-A7CB-8DB9D5493074}"/>
              </a:ext>
            </a:extLst>
          </p:cNvPr>
          <p:cNvSpPr/>
          <p:nvPr/>
        </p:nvSpPr>
        <p:spPr>
          <a:xfrm>
            <a:off x="655031" y="5652504"/>
            <a:ext cx="5053323" cy="540014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/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Ke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ObjectNam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​ </a:t>
            </a:r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Valu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m_oid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Pool Version, Layout ID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7369713D-AE5B-48EF-84D6-29DA8C426BB8}"/>
              </a:ext>
            </a:extLst>
          </p:cNvPr>
          <p:cNvCxnSpPr>
            <a:cxnSpLocks/>
          </p:cNvCxnSpPr>
          <p:nvPr/>
        </p:nvCxnSpPr>
        <p:spPr>
          <a:xfrm rot="16200000" flipH="1" flipV="1">
            <a:off x="7660238" y="3356544"/>
            <a:ext cx="646202" cy="4184604"/>
          </a:xfrm>
          <a:prstGeom prst="bentConnector4">
            <a:avLst>
              <a:gd name="adj1" fmla="val 101751"/>
              <a:gd name="adj2" fmla="val 50557"/>
            </a:avLst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ight Brace 14">
            <a:extLst>
              <a:ext uri="{FF2B5EF4-FFF2-40B4-BE49-F238E27FC236}">
                <a16:creationId xmlns:a16="http://schemas.microsoft.com/office/drawing/2014/main" id="{82170952-E900-4EBB-927B-77D887E5F2AC}"/>
              </a:ext>
            </a:extLst>
          </p:cNvPr>
          <p:cNvSpPr/>
          <p:nvPr/>
        </p:nvSpPr>
        <p:spPr>
          <a:xfrm rot="16200000" flipH="1">
            <a:off x="10029064" y="4049230"/>
            <a:ext cx="93153" cy="2059877"/>
          </a:xfrm>
          <a:prstGeom prst="rightBrac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9267887-F731-4C4D-AC6A-1B2D40FA5A8C}"/>
              </a:ext>
            </a:extLst>
          </p:cNvPr>
          <p:cNvSpPr txBox="1"/>
          <p:nvPr/>
        </p:nvSpPr>
        <p:spPr>
          <a:xfrm>
            <a:off x="6484361" y="5103205"/>
            <a:ext cx="34824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ew Field to find  storage set of</a:t>
            </a:r>
          </a:p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‘Object List Index’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8CB633D-B5F2-4468-8FA4-3DF1F1D254D3}"/>
              </a:ext>
            </a:extLst>
          </p:cNvPr>
          <p:cNvSpPr/>
          <p:nvPr/>
        </p:nvSpPr>
        <p:spPr>
          <a:xfrm>
            <a:off x="9083408" y="6153183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0FCA3CC-1BAF-4E01-BF3E-12C6C883A036}"/>
              </a:ext>
            </a:extLst>
          </p:cNvPr>
          <p:cNvSpPr/>
          <p:nvPr/>
        </p:nvSpPr>
        <p:spPr>
          <a:xfrm>
            <a:off x="9424343" y="6154751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1BD7F421-5FAF-497C-866F-9B46C4F65AB9}"/>
              </a:ext>
            </a:extLst>
          </p:cNvPr>
          <p:cNvCxnSpPr>
            <a:cxnSpLocks/>
            <a:endCxn id="29" idx="1"/>
          </p:cNvCxnSpPr>
          <p:nvPr/>
        </p:nvCxnSpPr>
        <p:spPr>
          <a:xfrm>
            <a:off x="4851548" y="6055693"/>
            <a:ext cx="4093983" cy="191035"/>
          </a:xfrm>
          <a:prstGeom prst="bentConnector3">
            <a:avLst>
              <a:gd name="adj1" fmla="val 50000"/>
            </a:avLst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>
            <a:extLst>
              <a:ext uri="{FF2B5EF4-FFF2-40B4-BE49-F238E27FC236}">
                <a16:creationId xmlns:a16="http://schemas.microsoft.com/office/drawing/2014/main" id="{F0CBC17F-1F65-42D1-8D12-A6B3D17AA17A}"/>
              </a:ext>
            </a:extLst>
          </p:cNvPr>
          <p:cNvSpPr/>
          <p:nvPr/>
        </p:nvSpPr>
        <p:spPr>
          <a:xfrm>
            <a:off x="10048086" y="6156320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77CF1615-ADE2-4055-84CE-907EAAF684B9}"/>
              </a:ext>
            </a:extLst>
          </p:cNvPr>
          <p:cNvSpPr/>
          <p:nvPr/>
        </p:nvSpPr>
        <p:spPr>
          <a:xfrm>
            <a:off x="10709533" y="6139035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08A977D3-9284-4591-8479-C4B9EB9CC194}"/>
              </a:ext>
            </a:extLst>
          </p:cNvPr>
          <p:cNvSpPr txBox="1"/>
          <p:nvPr/>
        </p:nvSpPr>
        <p:spPr>
          <a:xfrm>
            <a:off x="7392185" y="5909617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Object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6226250-5768-4062-A465-14159C6356F9}"/>
              </a:ext>
            </a:extLst>
          </p:cNvPr>
          <p:cNvSpPr/>
          <p:nvPr/>
        </p:nvSpPr>
        <p:spPr>
          <a:xfrm>
            <a:off x="8945531" y="6052523"/>
            <a:ext cx="2263264" cy="38840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09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4A0EB7DD-34D2-473B-A375-384AF162D079}"/>
              </a:ext>
            </a:extLst>
          </p:cNvPr>
          <p:cNvSpPr/>
          <p:nvPr/>
        </p:nvSpPr>
        <p:spPr>
          <a:xfrm>
            <a:off x="322219" y="1064686"/>
            <a:ext cx="5098865" cy="150336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rver : 1</a:t>
            </a:r>
          </a:p>
        </p:txBody>
      </p:sp>
      <p:sp>
        <p:nvSpPr>
          <p:cNvPr id="161" name="Rectangle: Rounded Corners 160">
            <a:extLst>
              <a:ext uri="{FF2B5EF4-FFF2-40B4-BE49-F238E27FC236}">
                <a16:creationId xmlns:a16="http://schemas.microsoft.com/office/drawing/2014/main" id="{F5C8CCF6-5E3E-4FAE-A0BE-E1B8096AAEF9}"/>
              </a:ext>
            </a:extLst>
          </p:cNvPr>
          <p:cNvSpPr/>
          <p:nvPr/>
        </p:nvSpPr>
        <p:spPr>
          <a:xfrm>
            <a:off x="2870104" y="1539451"/>
            <a:ext cx="2348132" cy="954445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tr-2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93184DE-D02B-495A-A112-F1886A01C2A3}"/>
              </a:ext>
            </a:extLst>
          </p:cNvPr>
          <p:cNvSpPr/>
          <p:nvPr/>
        </p:nvSpPr>
        <p:spPr>
          <a:xfrm>
            <a:off x="314672" y="549671"/>
            <a:ext cx="11565041" cy="3074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work</a:t>
            </a:r>
          </a:p>
        </p:txBody>
      </p: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341526" y="-4372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Storage Set Detail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21EB589-B668-44A4-BEB8-AF2956293F47}"/>
              </a:ext>
            </a:extLst>
          </p:cNvPr>
          <p:cNvGrpSpPr/>
          <p:nvPr/>
        </p:nvGrpSpPr>
        <p:grpSpPr>
          <a:xfrm>
            <a:off x="322222" y="4315336"/>
            <a:ext cx="5129346" cy="1972251"/>
            <a:chOff x="322222" y="4489508"/>
            <a:chExt cx="5129346" cy="1972251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A63DA23-7B21-4615-BCB0-07ACEF7C2234}"/>
                </a:ext>
              </a:extLst>
            </p:cNvPr>
            <p:cNvSpPr/>
            <p:nvPr/>
          </p:nvSpPr>
          <p:spPr>
            <a:xfrm>
              <a:off x="322222" y="4489508"/>
              <a:ext cx="5129346" cy="1972251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closure 1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7EC73BF-159D-4F9E-BEDB-DB8B4415C279}"/>
                </a:ext>
              </a:extLst>
            </p:cNvPr>
            <p:cNvGrpSpPr/>
            <p:nvPr/>
          </p:nvGrpSpPr>
          <p:grpSpPr>
            <a:xfrm>
              <a:off x="430103" y="5795974"/>
              <a:ext cx="4842937" cy="499698"/>
              <a:chOff x="525898" y="5212498"/>
              <a:chExt cx="4842937" cy="499698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7515105A-95D8-45B1-9D5D-BA692D4C92FE}"/>
                  </a:ext>
                </a:extLst>
              </p:cNvPr>
              <p:cNvGrpSpPr/>
              <p:nvPr/>
            </p:nvGrpSpPr>
            <p:grpSpPr>
              <a:xfrm>
                <a:off x="525898" y="5212498"/>
                <a:ext cx="2356640" cy="486639"/>
                <a:chOff x="769738" y="5212498"/>
                <a:chExt cx="2356640" cy="486639"/>
              </a:xfrm>
            </p:grpSpPr>
            <p:sp>
              <p:nvSpPr>
                <p:cNvPr id="43" name="Can 8">
                  <a:extLst>
                    <a:ext uri="{FF2B5EF4-FFF2-40B4-BE49-F238E27FC236}">
                      <a16:creationId xmlns:a16="http://schemas.microsoft.com/office/drawing/2014/main" id="{9555A8CE-9A8E-464C-920E-C2687DDED8BB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595D4377-BAAA-4944-96ED-7E59ED25B00C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</a:t>
                  </a:r>
                </a:p>
              </p:txBody>
            </p:sp>
            <p:sp>
              <p:nvSpPr>
                <p:cNvPr id="48" name="Can 8">
                  <a:extLst>
                    <a:ext uri="{FF2B5EF4-FFF2-40B4-BE49-F238E27FC236}">
                      <a16:creationId xmlns:a16="http://schemas.microsoft.com/office/drawing/2014/main" id="{E8BF69F3-1FB6-4F31-816F-0F0E38338803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9" name="Can 8">
                  <a:extLst>
                    <a:ext uri="{FF2B5EF4-FFF2-40B4-BE49-F238E27FC236}">
                      <a16:creationId xmlns:a16="http://schemas.microsoft.com/office/drawing/2014/main" id="{2FEA4F87-C963-42B9-830C-1255D676A760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1" name="Can 8">
                  <a:extLst>
                    <a:ext uri="{FF2B5EF4-FFF2-40B4-BE49-F238E27FC236}">
                      <a16:creationId xmlns:a16="http://schemas.microsoft.com/office/drawing/2014/main" id="{885FBD9D-AE7C-4A5F-9303-6EA6F9D8CF54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2" name="Can 8">
                  <a:extLst>
                    <a:ext uri="{FF2B5EF4-FFF2-40B4-BE49-F238E27FC236}">
                      <a16:creationId xmlns:a16="http://schemas.microsoft.com/office/drawing/2014/main" id="{7C1E8E77-E8AD-4664-BFD9-37752D87B08C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53" name="Can 8">
                  <a:extLst>
                    <a:ext uri="{FF2B5EF4-FFF2-40B4-BE49-F238E27FC236}">
                      <a16:creationId xmlns:a16="http://schemas.microsoft.com/office/drawing/2014/main" id="{D40B3D97-A66A-4574-8A19-4F49F4B062A4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4EDB66DF-4F69-41E0-8C1B-F7AF82FD93DB}"/>
                  </a:ext>
                </a:extLst>
              </p:cNvPr>
              <p:cNvGrpSpPr/>
              <p:nvPr/>
            </p:nvGrpSpPr>
            <p:grpSpPr>
              <a:xfrm>
                <a:off x="3012195" y="5225557"/>
                <a:ext cx="2356640" cy="486639"/>
                <a:chOff x="769738" y="5212498"/>
                <a:chExt cx="2356640" cy="486639"/>
              </a:xfrm>
            </p:grpSpPr>
            <p:sp>
              <p:nvSpPr>
                <p:cNvPr id="55" name="Can 8">
                  <a:extLst>
                    <a:ext uri="{FF2B5EF4-FFF2-40B4-BE49-F238E27FC236}">
                      <a16:creationId xmlns:a16="http://schemas.microsoft.com/office/drawing/2014/main" id="{472EB162-3051-44A0-923E-986114805365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BC1017B3-E606-4CDA-9131-EF750626D34A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2 (DG2)</a:t>
                  </a:r>
                </a:p>
              </p:txBody>
            </p:sp>
            <p:sp>
              <p:nvSpPr>
                <p:cNvPr id="57" name="Can 8">
                  <a:extLst>
                    <a:ext uri="{FF2B5EF4-FFF2-40B4-BE49-F238E27FC236}">
                      <a16:creationId xmlns:a16="http://schemas.microsoft.com/office/drawing/2014/main" id="{3142C01F-36B4-4244-8300-FA343CF23D16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8" name="Can 8">
                  <a:extLst>
                    <a:ext uri="{FF2B5EF4-FFF2-40B4-BE49-F238E27FC236}">
                      <a16:creationId xmlns:a16="http://schemas.microsoft.com/office/drawing/2014/main" id="{7AC5ED97-B4DE-4625-ACEC-48EB8B7D00D5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9" name="Can 8">
                  <a:extLst>
                    <a:ext uri="{FF2B5EF4-FFF2-40B4-BE49-F238E27FC236}">
                      <a16:creationId xmlns:a16="http://schemas.microsoft.com/office/drawing/2014/main" id="{4B121A0B-4810-4FAA-95C5-4F00E6EFAA26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" name="Can 8">
                  <a:extLst>
                    <a:ext uri="{FF2B5EF4-FFF2-40B4-BE49-F238E27FC236}">
                      <a16:creationId xmlns:a16="http://schemas.microsoft.com/office/drawing/2014/main" id="{56FD2B2D-0A50-4326-AE6B-0BA23A68CADD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61" name="Can 8">
                  <a:extLst>
                    <a:ext uri="{FF2B5EF4-FFF2-40B4-BE49-F238E27FC236}">
                      <a16:creationId xmlns:a16="http://schemas.microsoft.com/office/drawing/2014/main" id="{BC8660BA-5FA9-41D8-B2E3-E9B8CEBC398B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9270FF5-25DC-4BF7-8C74-25024D7364DB}"/>
                </a:ext>
              </a:extLst>
            </p:cNvPr>
            <p:cNvSpPr/>
            <p:nvPr/>
          </p:nvSpPr>
          <p:spPr>
            <a:xfrm>
              <a:off x="430103" y="5162385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1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CC574BBE-8332-4FB2-8FE2-C88E8BD10F43}"/>
                </a:ext>
              </a:extLst>
            </p:cNvPr>
            <p:cNvSpPr/>
            <p:nvPr/>
          </p:nvSpPr>
          <p:spPr>
            <a:xfrm>
              <a:off x="2925109" y="5158030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2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8AA77BED-54EC-472B-975D-4101F4C76B7E}"/>
                </a:ext>
              </a:extLst>
            </p:cNvPr>
            <p:cNvSpPr/>
            <p:nvPr/>
          </p:nvSpPr>
          <p:spPr>
            <a:xfrm>
              <a:off x="432966" y="5506379"/>
              <a:ext cx="4860048" cy="206235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SAS Expanders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A7451866-8AF0-4BEA-B047-48A9B807C08B}"/>
                </a:ext>
              </a:extLst>
            </p:cNvPr>
            <p:cNvSpPr/>
            <p:nvPr/>
          </p:nvSpPr>
          <p:spPr>
            <a:xfrm>
              <a:off x="421701" y="4856773"/>
              <a:ext cx="4860048" cy="2268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Firmware (ADAPT)</a:t>
              </a:r>
            </a:p>
          </p:txBody>
        </p: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6E5B48F7-4289-47EA-B08B-27ABADC225FA}"/>
              </a:ext>
            </a:extLst>
          </p:cNvPr>
          <p:cNvSpPr/>
          <p:nvPr/>
        </p:nvSpPr>
        <p:spPr>
          <a:xfrm>
            <a:off x="317866" y="3061238"/>
            <a:ext cx="5129346" cy="1104688"/>
          </a:xfrm>
          <a:prstGeom prst="rect">
            <a:avLst/>
          </a:prstGeom>
          <a:noFill/>
          <a:ln w="158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y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ED94E25-2306-4E47-9D5C-7168F9039674}"/>
              </a:ext>
            </a:extLst>
          </p:cNvPr>
          <p:cNvGrpSpPr/>
          <p:nvPr/>
        </p:nvGrpSpPr>
        <p:grpSpPr>
          <a:xfrm>
            <a:off x="2957068" y="3139971"/>
            <a:ext cx="2348132" cy="670178"/>
            <a:chOff x="2957068" y="3139971"/>
            <a:chExt cx="2348132" cy="670178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19C860C0-6F1E-4EC7-919F-942A43590637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2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C2135A0-E2F2-4AD6-A373-0EF3117D2C6B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114" name="Can 8">
                <a:extLst>
                  <a:ext uri="{FF2B5EF4-FFF2-40B4-BE49-F238E27FC236}">
                    <a16:creationId xmlns:a16="http://schemas.microsoft.com/office/drawing/2014/main" id="{0CEC8621-4D36-4E88-B564-62DFC9773250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Can 8">
                <a:extLst>
                  <a:ext uri="{FF2B5EF4-FFF2-40B4-BE49-F238E27FC236}">
                    <a16:creationId xmlns:a16="http://schemas.microsoft.com/office/drawing/2014/main" id="{445699B7-D683-4BB3-953A-B26D41E85971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Can 8">
                <a:extLst>
                  <a:ext uri="{FF2B5EF4-FFF2-40B4-BE49-F238E27FC236}">
                    <a16:creationId xmlns:a16="http://schemas.microsoft.com/office/drawing/2014/main" id="{0B99A77C-BAFE-453E-88CC-44A79DFDEED3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Can 8">
                <a:extLst>
                  <a:ext uri="{FF2B5EF4-FFF2-40B4-BE49-F238E27FC236}">
                    <a16:creationId xmlns:a16="http://schemas.microsoft.com/office/drawing/2014/main" id="{4E1AA41F-82BA-4005-A396-6CD2528F32A1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Can 8">
                <a:extLst>
                  <a:ext uri="{FF2B5EF4-FFF2-40B4-BE49-F238E27FC236}">
                    <a16:creationId xmlns:a16="http://schemas.microsoft.com/office/drawing/2014/main" id="{1F7EAAAA-29B8-4A72-A877-E21FFEC2E7FD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9" name="Can 8">
                <a:extLst>
                  <a:ext uri="{FF2B5EF4-FFF2-40B4-BE49-F238E27FC236}">
                    <a16:creationId xmlns:a16="http://schemas.microsoft.com/office/drawing/2014/main" id="{1E6BD5D2-71FF-494D-87D8-0BD65D1FB939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1" name="Can 8">
                <a:extLst>
                  <a:ext uri="{FF2B5EF4-FFF2-40B4-BE49-F238E27FC236}">
                    <a16:creationId xmlns:a16="http://schemas.microsoft.com/office/drawing/2014/main" id="{7925BDD0-3E47-4D17-90F5-AE005E428CE1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2" name="Can 8">
                <a:extLst>
                  <a:ext uri="{FF2B5EF4-FFF2-40B4-BE49-F238E27FC236}">
                    <a16:creationId xmlns:a16="http://schemas.microsoft.com/office/drawing/2014/main" id="{62B7AC08-9003-4A1D-AC94-191912D6366C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47C25BC9-D555-4607-B990-A1D8F8CE0F17}"/>
              </a:ext>
            </a:extLst>
          </p:cNvPr>
          <p:cNvGrpSpPr/>
          <p:nvPr/>
        </p:nvGrpSpPr>
        <p:grpSpPr>
          <a:xfrm>
            <a:off x="479476" y="3135617"/>
            <a:ext cx="2348132" cy="670178"/>
            <a:chOff x="2957068" y="3139971"/>
            <a:chExt cx="2348132" cy="670178"/>
          </a:xfrm>
        </p:grpSpPr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3AC6DE11-D9F9-47F4-8616-D7D4ADB0D615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1</a:t>
              </a:r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7192B7EB-2463-4D53-AE1F-787B875CBD9F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129" name="Can 8">
                <a:extLst>
                  <a:ext uri="{FF2B5EF4-FFF2-40B4-BE49-F238E27FC236}">
                    <a16:creationId xmlns:a16="http://schemas.microsoft.com/office/drawing/2014/main" id="{5ACFA160-12B0-409F-B7A8-709089FB8533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Can 8">
                <a:extLst>
                  <a:ext uri="{FF2B5EF4-FFF2-40B4-BE49-F238E27FC236}">
                    <a16:creationId xmlns:a16="http://schemas.microsoft.com/office/drawing/2014/main" id="{9868401F-39BF-4CAF-AC0C-2A43AEDF204C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Can 8">
                <a:extLst>
                  <a:ext uri="{FF2B5EF4-FFF2-40B4-BE49-F238E27FC236}">
                    <a16:creationId xmlns:a16="http://schemas.microsoft.com/office/drawing/2014/main" id="{A2E50A3F-415B-4648-82BA-AF1E625A404E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Can 8">
                <a:extLst>
                  <a:ext uri="{FF2B5EF4-FFF2-40B4-BE49-F238E27FC236}">
                    <a16:creationId xmlns:a16="http://schemas.microsoft.com/office/drawing/2014/main" id="{D9016686-48DA-4CB8-AF34-4192E16D3DA5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3" name="Can 8">
                <a:extLst>
                  <a:ext uri="{FF2B5EF4-FFF2-40B4-BE49-F238E27FC236}">
                    <a16:creationId xmlns:a16="http://schemas.microsoft.com/office/drawing/2014/main" id="{78AFE95C-4973-4BEB-AAC8-109D16B406F3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34" name="Can 8">
                <a:extLst>
                  <a:ext uri="{FF2B5EF4-FFF2-40B4-BE49-F238E27FC236}">
                    <a16:creationId xmlns:a16="http://schemas.microsoft.com/office/drawing/2014/main" id="{7C766F5C-1DEE-4253-B968-B750D75A1E94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5" name="Can 8">
                <a:extLst>
                  <a:ext uri="{FF2B5EF4-FFF2-40B4-BE49-F238E27FC236}">
                    <a16:creationId xmlns:a16="http://schemas.microsoft.com/office/drawing/2014/main" id="{1FA8D815-42E2-4CF1-B15F-58376E2393CC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Can 8">
                <a:extLst>
                  <a:ext uri="{FF2B5EF4-FFF2-40B4-BE49-F238E27FC236}">
                    <a16:creationId xmlns:a16="http://schemas.microsoft.com/office/drawing/2014/main" id="{3B338A78-9FC7-4B56-B8FC-FDD41B91987B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46" name="Rectangle: Rounded Corners 145">
            <a:extLst>
              <a:ext uri="{FF2B5EF4-FFF2-40B4-BE49-F238E27FC236}">
                <a16:creationId xmlns:a16="http://schemas.microsoft.com/office/drawing/2014/main" id="{EC1B5AB5-6BE0-4F7D-932C-E81B454F69E9}"/>
              </a:ext>
            </a:extLst>
          </p:cNvPr>
          <p:cNvSpPr/>
          <p:nvPr/>
        </p:nvSpPr>
        <p:spPr>
          <a:xfrm>
            <a:off x="418634" y="1526390"/>
            <a:ext cx="2348132" cy="954445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tr-1</a:t>
            </a:r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3E3FEB66-207D-4C7C-BE5A-F1BA5E779058}"/>
              </a:ext>
            </a:extLst>
          </p:cNvPr>
          <p:cNvGrpSpPr/>
          <p:nvPr/>
        </p:nvGrpSpPr>
        <p:grpSpPr>
          <a:xfrm>
            <a:off x="470886" y="1915811"/>
            <a:ext cx="2343648" cy="1135095"/>
            <a:chOff x="470886" y="1915811"/>
            <a:chExt cx="2343648" cy="1135095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41101200-C769-4742-9507-CEC4DDB20BFE}"/>
                </a:ext>
              </a:extLst>
            </p:cNvPr>
            <p:cNvSpPr/>
            <p:nvPr/>
          </p:nvSpPr>
          <p:spPr>
            <a:xfrm>
              <a:off x="509314" y="1915811"/>
              <a:ext cx="839997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1</a:t>
              </a:r>
            </a:p>
          </p:txBody>
        </p:sp>
        <p:cxnSp>
          <p:nvCxnSpPr>
            <p:cNvPr id="17" name="Connector: Elbow 16">
              <a:extLst>
                <a:ext uri="{FF2B5EF4-FFF2-40B4-BE49-F238E27FC236}">
                  <a16:creationId xmlns:a16="http://schemas.microsoft.com/office/drawing/2014/main" id="{5CC70D83-5DD6-4386-B8A0-9A4E5029E35A}"/>
                </a:ext>
              </a:extLst>
            </p:cNvPr>
            <p:cNvCxnSpPr>
              <a:cxnSpLocks/>
              <a:stCxn id="138" idx="2"/>
              <a:endCxn id="150" idx="1"/>
            </p:cNvCxnSpPr>
            <p:nvPr/>
          </p:nvCxnSpPr>
          <p:spPr>
            <a:xfrm rot="16200000" flipH="1">
              <a:off x="2191386" y="2406180"/>
              <a:ext cx="444345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Left Brace 21">
              <a:extLst>
                <a:ext uri="{FF2B5EF4-FFF2-40B4-BE49-F238E27FC236}">
                  <a16:creationId xmlns:a16="http://schemas.microsoft.com/office/drawing/2014/main" id="{FE4E9A17-4D22-4239-899F-32842E0B1A64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7" name="Connector: Elbow 136">
              <a:extLst>
                <a:ext uri="{FF2B5EF4-FFF2-40B4-BE49-F238E27FC236}">
                  <a16:creationId xmlns:a16="http://schemas.microsoft.com/office/drawing/2014/main" id="{5A13C606-F00B-4EC5-9A23-B0F5919D2DA0}"/>
                </a:ext>
              </a:extLst>
            </p:cNvPr>
            <p:cNvCxnSpPr>
              <a:cxnSpLocks/>
              <a:stCxn id="14" idx="2"/>
              <a:endCxn id="22" idx="1"/>
            </p:cNvCxnSpPr>
            <p:nvPr/>
          </p:nvCxnSpPr>
          <p:spPr>
            <a:xfrm rot="16200000" flipH="1">
              <a:off x="962410" y="2370292"/>
              <a:ext cx="454240" cy="520435"/>
            </a:xfrm>
            <a:prstGeom prst="bentConnector5">
              <a:avLst>
                <a:gd name="adj1" fmla="val 50326"/>
                <a:gd name="adj2" fmla="val 81066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Rectangle: Rounded Corners 137">
              <a:extLst>
                <a:ext uri="{FF2B5EF4-FFF2-40B4-BE49-F238E27FC236}">
                  <a16:creationId xmlns:a16="http://schemas.microsoft.com/office/drawing/2014/main" id="{642EE853-2262-447A-BCAB-4EB2E6076157}"/>
                </a:ext>
              </a:extLst>
            </p:cNvPr>
            <p:cNvSpPr/>
            <p:nvPr/>
          </p:nvSpPr>
          <p:spPr>
            <a:xfrm>
              <a:off x="1732715" y="1921347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1</a:t>
              </a:r>
            </a:p>
          </p:txBody>
        </p:sp>
        <p:sp>
          <p:nvSpPr>
            <p:cNvPr id="150" name="Left Brace 149">
              <a:extLst>
                <a:ext uri="{FF2B5EF4-FFF2-40B4-BE49-F238E27FC236}">
                  <a16:creationId xmlns:a16="http://schemas.microsoft.com/office/drawing/2014/main" id="{27A993BB-EFDB-4D5E-9D37-33C0E0931D64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B918E91C-06CF-492C-8F37-69A7DB84E027}"/>
              </a:ext>
            </a:extLst>
          </p:cNvPr>
          <p:cNvGrpSpPr/>
          <p:nvPr/>
        </p:nvGrpSpPr>
        <p:grpSpPr>
          <a:xfrm>
            <a:off x="2983312" y="1925699"/>
            <a:ext cx="2343648" cy="1138268"/>
            <a:chOff x="470886" y="1912638"/>
            <a:chExt cx="2343648" cy="1138268"/>
          </a:xfrm>
        </p:grpSpPr>
        <p:sp>
          <p:nvSpPr>
            <p:cNvPr id="155" name="Rectangle: Rounded Corners 154">
              <a:extLst>
                <a:ext uri="{FF2B5EF4-FFF2-40B4-BE49-F238E27FC236}">
                  <a16:creationId xmlns:a16="http://schemas.microsoft.com/office/drawing/2014/main" id="{CFB7FC7C-7453-471F-ABCA-67B8AD0860D2}"/>
                </a:ext>
              </a:extLst>
            </p:cNvPr>
            <p:cNvSpPr/>
            <p:nvPr/>
          </p:nvSpPr>
          <p:spPr>
            <a:xfrm>
              <a:off x="515211" y="1915811"/>
              <a:ext cx="828202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2</a:t>
              </a:r>
            </a:p>
          </p:txBody>
        </p:sp>
        <p:cxnSp>
          <p:nvCxnSpPr>
            <p:cNvPr id="156" name="Connector: Elbow 155">
              <a:extLst>
                <a:ext uri="{FF2B5EF4-FFF2-40B4-BE49-F238E27FC236}">
                  <a16:creationId xmlns:a16="http://schemas.microsoft.com/office/drawing/2014/main" id="{3514C170-FD35-49AF-AD2D-FB9621B44041}"/>
                </a:ext>
              </a:extLst>
            </p:cNvPr>
            <p:cNvCxnSpPr>
              <a:cxnSpLocks/>
              <a:stCxn id="159" idx="2"/>
              <a:endCxn id="160" idx="1"/>
            </p:cNvCxnSpPr>
            <p:nvPr/>
          </p:nvCxnSpPr>
          <p:spPr>
            <a:xfrm rot="16200000" flipH="1">
              <a:off x="2187031" y="2401826"/>
              <a:ext cx="453054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7" name="Left Brace 156">
              <a:extLst>
                <a:ext uri="{FF2B5EF4-FFF2-40B4-BE49-F238E27FC236}">
                  <a16:creationId xmlns:a16="http://schemas.microsoft.com/office/drawing/2014/main" id="{2A264C4A-1579-4B2D-8FED-F1C1C981A906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8" name="Connector: Elbow 157">
              <a:extLst>
                <a:ext uri="{FF2B5EF4-FFF2-40B4-BE49-F238E27FC236}">
                  <a16:creationId xmlns:a16="http://schemas.microsoft.com/office/drawing/2014/main" id="{8A4716C9-D5ED-403C-B1E3-D9856992EEAC}"/>
                </a:ext>
              </a:extLst>
            </p:cNvPr>
            <p:cNvCxnSpPr>
              <a:cxnSpLocks/>
              <a:stCxn id="155" idx="2"/>
              <a:endCxn id="157" idx="1"/>
            </p:cNvCxnSpPr>
            <p:nvPr/>
          </p:nvCxnSpPr>
          <p:spPr>
            <a:xfrm rot="16200000" flipH="1">
              <a:off x="962410" y="2370292"/>
              <a:ext cx="454240" cy="520436"/>
            </a:xfrm>
            <a:prstGeom prst="bentConnector5">
              <a:avLst>
                <a:gd name="adj1" fmla="val 50326"/>
                <a:gd name="adj2" fmla="val 80500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Rectangle: Rounded Corners 158">
              <a:extLst>
                <a:ext uri="{FF2B5EF4-FFF2-40B4-BE49-F238E27FC236}">
                  <a16:creationId xmlns:a16="http://schemas.microsoft.com/office/drawing/2014/main" id="{6C5714ED-AB41-48C9-BC99-425B9598CED8}"/>
                </a:ext>
              </a:extLst>
            </p:cNvPr>
            <p:cNvSpPr/>
            <p:nvPr/>
          </p:nvSpPr>
          <p:spPr>
            <a:xfrm>
              <a:off x="1732715" y="1912638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2</a:t>
              </a:r>
            </a:p>
          </p:txBody>
        </p:sp>
        <p:sp>
          <p:nvSpPr>
            <p:cNvPr id="160" name="Left Brace 159">
              <a:extLst>
                <a:ext uri="{FF2B5EF4-FFF2-40B4-BE49-F238E27FC236}">
                  <a16:creationId xmlns:a16="http://schemas.microsoft.com/office/drawing/2014/main" id="{79557C7F-6A3B-45D0-9217-1A06025113C8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5505A7F2-E9C7-4AC9-AF56-26964937AC24}"/>
              </a:ext>
            </a:extLst>
          </p:cNvPr>
          <p:cNvCxnSpPr>
            <a:stCxn id="14" idx="3"/>
            <a:endCxn id="138" idx="1"/>
          </p:cNvCxnSpPr>
          <p:nvPr/>
        </p:nvCxnSpPr>
        <p:spPr>
          <a:xfrm>
            <a:off x="1349311" y="2159601"/>
            <a:ext cx="383404" cy="5536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7F12B7D1-FEAE-4832-BA40-B9F5FAE22B71}"/>
              </a:ext>
            </a:extLst>
          </p:cNvPr>
          <p:cNvCxnSpPr>
            <a:cxnSpLocks/>
            <a:stCxn id="155" idx="3"/>
          </p:cNvCxnSpPr>
          <p:nvPr/>
        </p:nvCxnSpPr>
        <p:spPr>
          <a:xfrm flipV="1">
            <a:off x="3855839" y="2169488"/>
            <a:ext cx="389302" cy="3174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Arrow: Up-Down 169">
            <a:extLst>
              <a:ext uri="{FF2B5EF4-FFF2-40B4-BE49-F238E27FC236}">
                <a16:creationId xmlns:a16="http://schemas.microsoft.com/office/drawing/2014/main" id="{5693DBA7-780E-4D47-B0AB-E4E4DE7DD15A}"/>
              </a:ext>
            </a:extLst>
          </p:cNvPr>
          <p:cNvSpPr/>
          <p:nvPr/>
        </p:nvSpPr>
        <p:spPr>
          <a:xfrm>
            <a:off x="2766766" y="844108"/>
            <a:ext cx="115773" cy="206330"/>
          </a:xfrm>
          <a:prstGeom prst="upDown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1" name="Rectangle: Rounded Corners 170">
            <a:extLst>
              <a:ext uri="{FF2B5EF4-FFF2-40B4-BE49-F238E27FC236}">
                <a16:creationId xmlns:a16="http://schemas.microsoft.com/office/drawing/2014/main" id="{9175DDC3-A42F-4128-B808-B057BD5B6C3B}"/>
              </a:ext>
            </a:extLst>
          </p:cNvPr>
          <p:cNvSpPr/>
          <p:nvPr/>
        </p:nvSpPr>
        <p:spPr>
          <a:xfrm>
            <a:off x="6779641" y="1069035"/>
            <a:ext cx="5124990" cy="150336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rver : N</a:t>
            </a:r>
          </a:p>
        </p:txBody>
      </p:sp>
      <p:sp>
        <p:nvSpPr>
          <p:cNvPr id="172" name="Rectangle: Rounded Corners 171">
            <a:extLst>
              <a:ext uri="{FF2B5EF4-FFF2-40B4-BE49-F238E27FC236}">
                <a16:creationId xmlns:a16="http://schemas.microsoft.com/office/drawing/2014/main" id="{969723FA-891D-4536-A2A2-D2E21C4D4C60}"/>
              </a:ext>
            </a:extLst>
          </p:cNvPr>
          <p:cNvSpPr/>
          <p:nvPr/>
        </p:nvSpPr>
        <p:spPr>
          <a:xfrm>
            <a:off x="9353650" y="1543800"/>
            <a:ext cx="2348132" cy="9544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/>
              <a:t>Motr-2</a:t>
            </a:r>
          </a:p>
        </p:txBody>
      </p: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DF000CAD-DCEC-41E2-888E-95FB49E0075D}"/>
              </a:ext>
            </a:extLst>
          </p:cNvPr>
          <p:cNvGrpSpPr/>
          <p:nvPr/>
        </p:nvGrpSpPr>
        <p:grpSpPr>
          <a:xfrm>
            <a:off x="6805768" y="4354517"/>
            <a:ext cx="5129346" cy="1972251"/>
            <a:chOff x="322222" y="4489508"/>
            <a:chExt cx="5129346" cy="1972251"/>
          </a:xfrm>
        </p:grpSpPr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F384647D-CCD8-4091-9AC4-6DE6FFED06D4}"/>
                </a:ext>
              </a:extLst>
            </p:cNvPr>
            <p:cNvSpPr/>
            <p:nvPr/>
          </p:nvSpPr>
          <p:spPr>
            <a:xfrm>
              <a:off x="322222" y="4489508"/>
              <a:ext cx="5129346" cy="1972251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closure 1</a:t>
              </a:r>
            </a:p>
          </p:txBody>
        </p: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FE6249A4-8271-4D35-B1F6-64D6BE4E2E2B}"/>
                </a:ext>
              </a:extLst>
            </p:cNvPr>
            <p:cNvGrpSpPr/>
            <p:nvPr/>
          </p:nvGrpSpPr>
          <p:grpSpPr>
            <a:xfrm>
              <a:off x="430103" y="5795974"/>
              <a:ext cx="4842937" cy="499698"/>
              <a:chOff x="525898" y="5212498"/>
              <a:chExt cx="4842937" cy="499698"/>
            </a:xfrm>
          </p:grpSpPr>
          <p:grpSp>
            <p:nvGrpSpPr>
              <p:cNvPr id="180" name="Group 179">
                <a:extLst>
                  <a:ext uri="{FF2B5EF4-FFF2-40B4-BE49-F238E27FC236}">
                    <a16:creationId xmlns:a16="http://schemas.microsoft.com/office/drawing/2014/main" id="{40760EB6-01AA-4161-928B-55357C411990}"/>
                  </a:ext>
                </a:extLst>
              </p:cNvPr>
              <p:cNvGrpSpPr/>
              <p:nvPr/>
            </p:nvGrpSpPr>
            <p:grpSpPr>
              <a:xfrm>
                <a:off x="525898" y="5212498"/>
                <a:ext cx="2356640" cy="486639"/>
                <a:chOff x="769738" y="5212498"/>
                <a:chExt cx="2356640" cy="486639"/>
              </a:xfrm>
            </p:grpSpPr>
            <p:sp>
              <p:nvSpPr>
                <p:cNvPr id="189" name="Can 8">
                  <a:extLst>
                    <a:ext uri="{FF2B5EF4-FFF2-40B4-BE49-F238E27FC236}">
                      <a16:creationId xmlns:a16="http://schemas.microsoft.com/office/drawing/2014/main" id="{9493AB08-CC0F-4C3D-BF25-EFC69CABC7E1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0" name="Rectangle 189">
                  <a:extLst>
                    <a:ext uri="{FF2B5EF4-FFF2-40B4-BE49-F238E27FC236}">
                      <a16:creationId xmlns:a16="http://schemas.microsoft.com/office/drawing/2014/main" id="{080F0C3D-ED46-4B9F-A4C6-E0A0F249F5F1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</a:t>
                  </a:r>
                </a:p>
              </p:txBody>
            </p:sp>
            <p:sp>
              <p:nvSpPr>
                <p:cNvPr id="191" name="Can 8">
                  <a:extLst>
                    <a:ext uri="{FF2B5EF4-FFF2-40B4-BE49-F238E27FC236}">
                      <a16:creationId xmlns:a16="http://schemas.microsoft.com/office/drawing/2014/main" id="{6595E928-54D9-4CAA-AAC9-D2003E8AC0FB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2" name="Can 8">
                  <a:extLst>
                    <a:ext uri="{FF2B5EF4-FFF2-40B4-BE49-F238E27FC236}">
                      <a16:creationId xmlns:a16="http://schemas.microsoft.com/office/drawing/2014/main" id="{7B449C9D-069B-4457-8C4B-BD37547F3376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3" name="Can 8">
                  <a:extLst>
                    <a:ext uri="{FF2B5EF4-FFF2-40B4-BE49-F238E27FC236}">
                      <a16:creationId xmlns:a16="http://schemas.microsoft.com/office/drawing/2014/main" id="{D2DF44DE-2442-40A4-8E6F-867FBF8DDA82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4" name="Can 8">
                  <a:extLst>
                    <a:ext uri="{FF2B5EF4-FFF2-40B4-BE49-F238E27FC236}">
                      <a16:creationId xmlns:a16="http://schemas.microsoft.com/office/drawing/2014/main" id="{8DD4987F-BEBD-4AC0-BAC4-1FE1A6A94EE7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95" name="Can 8">
                  <a:extLst>
                    <a:ext uri="{FF2B5EF4-FFF2-40B4-BE49-F238E27FC236}">
                      <a16:creationId xmlns:a16="http://schemas.microsoft.com/office/drawing/2014/main" id="{698BDD04-5F21-417A-A116-525D678B2B4B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81" name="Group 180">
                <a:extLst>
                  <a:ext uri="{FF2B5EF4-FFF2-40B4-BE49-F238E27FC236}">
                    <a16:creationId xmlns:a16="http://schemas.microsoft.com/office/drawing/2014/main" id="{FBC9F178-7AFF-4535-BBCA-AAB6082417B2}"/>
                  </a:ext>
                </a:extLst>
              </p:cNvPr>
              <p:cNvGrpSpPr/>
              <p:nvPr/>
            </p:nvGrpSpPr>
            <p:grpSpPr>
              <a:xfrm>
                <a:off x="3012195" y="5225557"/>
                <a:ext cx="2356640" cy="486639"/>
                <a:chOff x="769738" y="5212498"/>
                <a:chExt cx="2356640" cy="486639"/>
              </a:xfrm>
            </p:grpSpPr>
            <p:sp>
              <p:nvSpPr>
                <p:cNvPr id="182" name="Can 8">
                  <a:extLst>
                    <a:ext uri="{FF2B5EF4-FFF2-40B4-BE49-F238E27FC236}">
                      <a16:creationId xmlns:a16="http://schemas.microsoft.com/office/drawing/2014/main" id="{A51E3875-2F85-41DA-AA92-E2A9CD93422C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3" name="Rectangle 182">
                  <a:extLst>
                    <a:ext uri="{FF2B5EF4-FFF2-40B4-BE49-F238E27FC236}">
                      <a16:creationId xmlns:a16="http://schemas.microsoft.com/office/drawing/2014/main" id="{EB4608C5-F6F7-4419-B1A7-97FA3BC1E1C2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2 (DG2)</a:t>
                  </a:r>
                </a:p>
              </p:txBody>
            </p:sp>
            <p:sp>
              <p:nvSpPr>
                <p:cNvPr id="184" name="Can 8">
                  <a:extLst>
                    <a:ext uri="{FF2B5EF4-FFF2-40B4-BE49-F238E27FC236}">
                      <a16:creationId xmlns:a16="http://schemas.microsoft.com/office/drawing/2014/main" id="{35CF2B7E-6391-42EA-BF56-86DCE9164A1D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5" name="Can 8">
                  <a:extLst>
                    <a:ext uri="{FF2B5EF4-FFF2-40B4-BE49-F238E27FC236}">
                      <a16:creationId xmlns:a16="http://schemas.microsoft.com/office/drawing/2014/main" id="{95700274-9099-43BD-9E02-BB1644CC90A4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6" name="Can 8">
                  <a:extLst>
                    <a:ext uri="{FF2B5EF4-FFF2-40B4-BE49-F238E27FC236}">
                      <a16:creationId xmlns:a16="http://schemas.microsoft.com/office/drawing/2014/main" id="{46290B34-D7BC-498B-AAEE-0E0FA5208C3A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7" name="Can 8">
                  <a:extLst>
                    <a:ext uri="{FF2B5EF4-FFF2-40B4-BE49-F238E27FC236}">
                      <a16:creationId xmlns:a16="http://schemas.microsoft.com/office/drawing/2014/main" id="{1193355D-D9C7-4B35-8998-EBB322937DB8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88" name="Can 8">
                  <a:extLst>
                    <a:ext uri="{FF2B5EF4-FFF2-40B4-BE49-F238E27FC236}">
                      <a16:creationId xmlns:a16="http://schemas.microsoft.com/office/drawing/2014/main" id="{880B65DA-69FF-49CF-8E3C-DECD81AB4CB6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2D010092-5B93-45F0-9178-5C12A8507938}"/>
                </a:ext>
              </a:extLst>
            </p:cNvPr>
            <p:cNvSpPr/>
            <p:nvPr/>
          </p:nvSpPr>
          <p:spPr>
            <a:xfrm>
              <a:off x="430103" y="5162385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1</a:t>
              </a: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2C5B2E86-BDFB-4C66-9666-AB7489AB50DF}"/>
                </a:ext>
              </a:extLst>
            </p:cNvPr>
            <p:cNvSpPr/>
            <p:nvPr/>
          </p:nvSpPr>
          <p:spPr>
            <a:xfrm>
              <a:off x="2925109" y="5158030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2</a:t>
              </a: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6421D894-BF56-4D46-995F-E4DD3C8E206C}"/>
                </a:ext>
              </a:extLst>
            </p:cNvPr>
            <p:cNvSpPr/>
            <p:nvPr/>
          </p:nvSpPr>
          <p:spPr>
            <a:xfrm>
              <a:off x="432966" y="5506379"/>
              <a:ext cx="4860048" cy="206235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SAS Expanders</a:t>
              </a: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2ECFDD2E-7A4F-40DB-A965-FA3AA14EC1A6}"/>
                </a:ext>
              </a:extLst>
            </p:cNvPr>
            <p:cNvSpPr/>
            <p:nvPr/>
          </p:nvSpPr>
          <p:spPr>
            <a:xfrm>
              <a:off x="421701" y="4856773"/>
              <a:ext cx="4860048" cy="2268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Firmware (ADAPT)</a:t>
              </a:r>
            </a:p>
          </p:txBody>
        </p:sp>
      </p:grpSp>
      <p:sp>
        <p:nvSpPr>
          <p:cNvPr id="196" name="Rectangle 195">
            <a:extLst>
              <a:ext uri="{FF2B5EF4-FFF2-40B4-BE49-F238E27FC236}">
                <a16:creationId xmlns:a16="http://schemas.microsoft.com/office/drawing/2014/main" id="{847FDBE8-955F-431F-A11C-99329FA41C47}"/>
              </a:ext>
            </a:extLst>
          </p:cNvPr>
          <p:cNvSpPr/>
          <p:nvPr/>
        </p:nvSpPr>
        <p:spPr>
          <a:xfrm>
            <a:off x="6801412" y="3065587"/>
            <a:ext cx="5129346" cy="1104688"/>
          </a:xfrm>
          <a:prstGeom prst="rect">
            <a:avLst/>
          </a:prstGeom>
          <a:noFill/>
          <a:ln w="158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 Layer</a:t>
            </a:r>
          </a:p>
        </p:txBody>
      </p: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1C840FB6-4D24-488E-8781-372BBE007DF9}"/>
              </a:ext>
            </a:extLst>
          </p:cNvPr>
          <p:cNvGrpSpPr/>
          <p:nvPr/>
        </p:nvGrpSpPr>
        <p:grpSpPr>
          <a:xfrm>
            <a:off x="9440614" y="3144320"/>
            <a:ext cx="2348132" cy="670178"/>
            <a:chOff x="2957068" y="3139971"/>
            <a:chExt cx="2348132" cy="670178"/>
          </a:xfrm>
        </p:grpSpPr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E8D72FFC-DE8C-41C2-85A3-1F876F75BC16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2</a:t>
              </a:r>
            </a:p>
          </p:txBody>
        </p: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F0B17ED9-D653-41CB-AD6B-3B11EFA3817D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406668"/>
              <a:chOff x="3029499" y="3405274"/>
              <a:chExt cx="2165173" cy="406668"/>
            </a:xfrm>
          </p:grpSpPr>
          <p:sp>
            <p:nvSpPr>
              <p:cNvPr id="200" name="Can 8">
                <a:extLst>
                  <a:ext uri="{FF2B5EF4-FFF2-40B4-BE49-F238E27FC236}">
                    <a16:creationId xmlns:a16="http://schemas.microsoft.com/office/drawing/2014/main" id="{C50550F6-A4C8-410C-AF09-2E0A7F2255D1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1" name="Can 8">
                <a:extLst>
                  <a:ext uri="{FF2B5EF4-FFF2-40B4-BE49-F238E27FC236}">
                    <a16:creationId xmlns:a16="http://schemas.microsoft.com/office/drawing/2014/main" id="{C209E180-B36D-4F3D-95A3-5B05A56E8479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2" name="Can 8">
                <a:extLst>
                  <a:ext uri="{FF2B5EF4-FFF2-40B4-BE49-F238E27FC236}">
                    <a16:creationId xmlns:a16="http://schemas.microsoft.com/office/drawing/2014/main" id="{A928A5E4-3DDA-4D45-844D-A6777CABD946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3" name="Can 8">
                <a:extLst>
                  <a:ext uri="{FF2B5EF4-FFF2-40B4-BE49-F238E27FC236}">
                    <a16:creationId xmlns:a16="http://schemas.microsoft.com/office/drawing/2014/main" id="{BF5A6308-249A-4959-AA81-E7F4CC848A66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4" name="Can 8">
                <a:extLst>
                  <a:ext uri="{FF2B5EF4-FFF2-40B4-BE49-F238E27FC236}">
                    <a16:creationId xmlns:a16="http://schemas.microsoft.com/office/drawing/2014/main" id="{EDF15CE1-60B3-4951-84F6-047598C4E7A8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05" name="Can 8">
                <a:extLst>
                  <a:ext uri="{FF2B5EF4-FFF2-40B4-BE49-F238E27FC236}">
                    <a16:creationId xmlns:a16="http://schemas.microsoft.com/office/drawing/2014/main" id="{BC6D9AA5-718A-4E90-A740-BE03A4D4A413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6" name="Can 8">
                <a:extLst>
                  <a:ext uri="{FF2B5EF4-FFF2-40B4-BE49-F238E27FC236}">
                    <a16:creationId xmlns:a16="http://schemas.microsoft.com/office/drawing/2014/main" id="{694686E4-1625-41D5-8C90-B2C43B97C918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7" name="Can 8">
                <a:extLst>
                  <a:ext uri="{FF2B5EF4-FFF2-40B4-BE49-F238E27FC236}">
                    <a16:creationId xmlns:a16="http://schemas.microsoft.com/office/drawing/2014/main" id="{A49FA606-A533-4394-B5D0-E00181CEF433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tx2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1" name="Can 8">
                <a:extLst>
                  <a:ext uri="{FF2B5EF4-FFF2-40B4-BE49-F238E27FC236}">
                    <a16:creationId xmlns:a16="http://schemas.microsoft.com/office/drawing/2014/main" id="{29A41D04-24AF-49CB-AA3F-415DC30194D6}"/>
                  </a:ext>
                </a:extLst>
              </p:cNvPr>
              <p:cNvSpPr/>
              <p:nvPr/>
            </p:nvSpPr>
            <p:spPr>
              <a:xfrm>
                <a:off x="4996648" y="3445692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08" name="Group 207">
            <a:extLst>
              <a:ext uri="{FF2B5EF4-FFF2-40B4-BE49-F238E27FC236}">
                <a16:creationId xmlns:a16="http://schemas.microsoft.com/office/drawing/2014/main" id="{259DF3FA-6595-47FD-B6B0-819CD9E88F7C}"/>
              </a:ext>
            </a:extLst>
          </p:cNvPr>
          <p:cNvGrpSpPr/>
          <p:nvPr/>
        </p:nvGrpSpPr>
        <p:grpSpPr>
          <a:xfrm>
            <a:off x="6963022" y="3139966"/>
            <a:ext cx="2348132" cy="670178"/>
            <a:chOff x="2957068" y="3139971"/>
            <a:chExt cx="2348132" cy="670178"/>
          </a:xfrm>
        </p:grpSpPr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694498FE-0890-45EA-9769-21D34D411F0B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1</a:t>
              </a:r>
            </a:p>
          </p:txBody>
        </p:sp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id="{5D3C6FDD-9F3D-4036-9DA4-636B190B0127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211" name="Can 8">
                <a:extLst>
                  <a:ext uri="{FF2B5EF4-FFF2-40B4-BE49-F238E27FC236}">
                    <a16:creationId xmlns:a16="http://schemas.microsoft.com/office/drawing/2014/main" id="{BC85230D-83A0-4B73-8DCA-A33BB7811895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2" name="Can 8">
                <a:extLst>
                  <a:ext uri="{FF2B5EF4-FFF2-40B4-BE49-F238E27FC236}">
                    <a16:creationId xmlns:a16="http://schemas.microsoft.com/office/drawing/2014/main" id="{8804933D-9F03-42D6-A97B-0AAD434025DD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3" name="Can 8">
                <a:extLst>
                  <a:ext uri="{FF2B5EF4-FFF2-40B4-BE49-F238E27FC236}">
                    <a16:creationId xmlns:a16="http://schemas.microsoft.com/office/drawing/2014/main" id="{B911300A-4878-437D-8D0F-4F485CD5F6FC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4" name="Can 8">
                <a:extLst>
                  <a:ext uri="{FF2B5EF4-FFF2-40B4-BE49-F238E27FC236}">
                    <a16:creationId xmlns:a16="http://schemas.microsoft.com/office/drawing/2014/main" id="{1FFF5359-7D52-4E5E-803F-DB7622750862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5" name="Can 8">
                <a:extLst>
                  <a:ext uri="{FF2B5EF4-FFF2-40B4-BE49-F238E27FC236}">
                    <a16:creationId xmlns:a16="http://schemas.microsoft.com/office/drawing/2014/main" id="{CC44D11D-94CA-4792-8E82-04B7C5E39E61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16" name="Can 8">
                <a:extLst>
                  <a:ext uri="{FF2B5EF4-FFF2-40B4-BE49-F238E27FC236}">
                    <a16:creationId xmlns:a16="http://schemas.microsoft.com/office/drawing/2014/main" id="{A3BE5E2C-A490-4AD5-938B-6B6F390E0163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7" name="Can 8">
                <a:extLst>
                  <a:ext uri="{FF2B5EF4-FFF2-40B4-BE49-F238E27FC236}">
                    <a16:creationId xmlns:a16="http://schemas.microsoft.com/office/drawing/2014/main" id="{B7E30146-618E-410E-A652-4DB916969C2C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8" name="Can 8">
                <a:extLst>
                  <a:ext uri="{FF2B5EF4-FFF2-40B4-BE49-F238E27FC236}">
                    <a16:creationId xmlns:a16="http://schemas.microsoft.com/office/drawing/2014/main" id="{25392BA6-AD4B-4E49-A9BD-1F2C123AB559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9" name="Rectangle: Rounded Corners 218">
            <a:extLst>
              <a:ext uri="{FF2B5EF4-FFF2-40B4-BE49-F238E27FC236}">
                <a16:creationId xmlns:a16="http://schemas.microsoft.com/office/drawing/2014/main" id="{AD4499C9-503F-4A6D-846E-53DF90DC3B0F}"/>
              </a:ext>
            </a:extLst>
          </p:cNvPr>
          <p:cNvSpPr/>
          <p:nvPr/>
        </p:nvSpPr>
        <p:spPr>
          <a:xfrm>
            <a:off x="6902180" y="1530739"/>
            <a:ext cx="2348132" cy="9544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/>
              <a:t>Motr-1</a:t>
            </a:r>
          </a:p>
        </p:txBody>
      </p:sp>
      <p:grpSp>
        <p:nvGrpSpPr>
          <p:cNvPr id="220" name="Group 219">
            <a:extLst>
              <a:ext uri="{FF2B5EF4-FFF2-40B4-BE49-F238E27FC236}">
                <a16:creationId xmlns:a16="http://schemas.microsoft.com/office/drawing/2014/main" id="{557C96D0-38E0-4D9F-88CD-E2DE33279EBA}"/>
              </a:ext>
            </a:extLst>
          </p:cNvPr>
          <p:cNvGrpSpPr/>
          <p:nvPr/>
        </p:nvGrpSpPr>
        <p:grpSpPr>
          <a:xfrm>
            <a:off x="6954432" y="1920160"/>
            <a:ext cx="2343648" cy="1135095"/>
            <a:chOff x="470886" y="1915811"/>
            <a:chExt cx="2343648" cy="1135095"/>
          </a:xfrm>
        </p:grpSpPr>
        <p:sp>
          <p:nvSpPr>
            <p:cNvPr id="221" name="Rectangle: Rounded Corners 220">
              <a:extLst>
                <a:ext uri="{FF2B5EF4-FFF2-40B4-BE49-F238E27FC236}">
                  <a16:creationId xmlns:a16="http://schemas.microsoft.com/office/drawing/2014/main" id="{0A3D0AAF-7FC5-46F5-AD3B-ECDEECFCFE40}"/>
                </a:ext>
              </a:extLst>
            </p:cNvPr>
            <p:cNvSpPr/>
            <p:nvPr/>
          </p:nvSpPr>
          <p:spPr>
            <a:xfrm>
              <a:off x="509314" y="1915811"/>
              <a:ext cx="839997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1</a:t>
              </a:r>
            </a:p>
          </p:txBody>
        </p:sp>
        <p:cxnSp>
          <p:nvCxnSpPr>
            <p:cNvPr id="222" name="Connector: Elbow 221">
              <a:extLst>
                <a:ext uri="{FF2B5EF4-FFF2-40B4-BE49-F238E27FC236}">
                  <a16:creationId xmlns:a16="http://schemas.microsoft.com/office/drawing/2014/main" id="{FD123314-CE0B-4F43-B249-C3C25F64744F}"/>
                </a:ext>
              </a:extLst>
            </p:cNvPr>
            <p:cNvCxnSpPr>
              <a:cxnSpLocks/>
              <a:stCxn id="225" idx="2"/>
              <a:endCxn id="226" idx="1"/>
            </p:cNvCxnSpPr>
            <p:nvPr/>
          </p:nvCxnSpPr>
          <p:spPr>
            <a:xfrm rot="16200000" flipH="1">
              <a:off x="2191386" y="2406180"/>
              <a:ext cx="444345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3" name="Left Brace 222">
              <a:extLst>
                <a:ext uri="{FF2B5EF4-FFF2-40B4-BE49-F238E27FC236}">
                  <a16:creationId xmlns:a16="http://schemas.microsoft.com/office/drawing/2014/main" id="{57A10134-E90E-471B-AB7F-559E17263082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24" name="Connector: Elbow 223">
              <a:extLst>
                <a:ext uri="{FF2B5EF4-FFF2-40B4-BE49-F238E27FC236}">
                  <a16:creationId xmlns:a16="http://schemas.microsoft.com/office/drawing/2014/main" id="{D2006577-E35F-45EF-AB9E-37154AF02B6E}"/>
                </a:ext>
              </a:extLst>
            </p:cNvPr>
            <p:cNvCxnSpPr>
              <a:cxnSpLocks/>
              <a:stCxn id="221" idx="2"/>
              <a:endCxn id="223" idx="1"/>
            </p:cNvCxnSpPr>
            <p:nvPr/>
          </p:nvCxnSpPr>
          <p:spPr>
            <a:xfrm rot="16200000" flipH="1">
              <a:off x="962410" y="2370292"/>
              <a:ext cx="454240" cy="520435"/>
            </a:xfrm>
            <a:prstGeom prst="bentConnector5">
              <a:avLst>
                <a:gd name="adj1" fmla="val 50326"/>
                <a:gd name="adj2" fmla="val 81066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5" name="Rectangle: Rounded Corners 224">
              <a:extLst>
                <a:ext uri="{FF2B5EF4-FFF2-40B4-BE49-F238E27FC236}">
                  <a16:creationId xmlns:a16="http://schemas.microsoft.com/office/drawing/2014/main" id="{FCE21126-C036-431F-AF12-AC9BBF3404B9}"/>
                </a:ext>
              </a:extLst>
            </p:cNvPr>
            <p:cNvSpPr/>
            <p:nvPr/>
          </p:nvSpPr>
          <p:spPr>
            <a:xfrm>
              <a:off x="1732715" y="1921347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1</a:t>
              </a:r>
            </a:p>
          </p:txBody>
        </p:sp>
        <p:sp>
          <p:nvSpPr>
            <p:cNvPr id="226" name="Left Brace 225">
              <a:extLst>
                <a:ext uri="{FF2B5EF4-FFF2-40B4-BE49-F238E27FC236}">
                  <a16:creationId xmlns:a16="http://schemas.microsoft.com/office/drawing/2014/main" id="{A1F70428-CAE2-4149-A489-4E89E9A42324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CD914FBD-46C8-499B-9677-0839F2A566EA}"/>
              </a:ext>
            </a:extLst>
          </p:cNvPr>
          <p:cNvGrpSpPr/>
          <p:nvPr/>
        </p:nvGrpSpPr>
        <p:grpSpPr>
          <a:xfrm>
            <a:off x="9466858" y="1930048"/>
            <a:ext cx="2343648" cy="1138268"/>
            <a:chOff x="470886" y="1912638"/>
            <a:chExt cx="2343648" cy="1138268"/>
          </a:xfrm>
        </p:grpSpPr>
        <p:sp>
          <p:nvSpPr>
            <p:cNvPr id="228" name="Rectangle: Rounded Corners 227">
              <a:extLst>
                <a:ext uri="{FF2B5EF4-FFF2-40B4-BE49-F238E27FC236}">
                  <a16:creationId xmlns:a16="http://schemas.microsoft.com/office/drawing/2014/main" id="{5581C09F-9D3B-4B41-8BC3-88143381A90D}"/>
                </a:ext>
              </a:extLst>
            </p:cNvPr>
            <p:cNvSpPr/>
            <p:nvPr/>
          </p:nvSpPr>
          <p:spPr>
            <a:xfrm>
              <a:off x="515211" y="1915811"/>
              <a:ext cx="828202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2</a:t>
              </a:r>
            </a:p>
          </p:txBody>
        </p:sp>
        <p:cxnSp>
          <p:nvCxnSpPr>
            <p:cNvPr id="229" name="Connector: Elbow 228">
              <a:extLst>
                <a:ext uri="{FF2B5EF4-FFF2-40B4-BE49-F238E27FC236}">
                  <a16:creationId xmlns:a16="http://schemas.microsoft.com/office/drawing/2014/main" id="{0516712E-8823-4462-985A-7222D50B3AE1}"/>
                </a:ext>
              </a:extLst>
            </p:cNvPr>
            <p:cNvCxnSpPr>
              <a:cxnSpLocks/>
              <a:stCxn id="232" idx="2"/>
              <a:endCxn id="233" idx="1"/>
            </p:cNvCxnSpPr>
            <p:nvPr/>
          </p:nvCxnSpPr>
          <p:spPr>
            <a:xfrm rot="16200000" flipH="1">
              <a:off x="2187031" y="2401826"/>
              <a:ext cx="453054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0" name="Left Brace 229">
              <a:extLst>
                <a:ext uri="{FF2B5EF4-FFF2-40B4-BE49-F238E27FC236}">
                  <a16:creationId xmlns:a16="http://schemas.microsoft.com/office/drawing/2014/main" id="{74EAB12A-860A-49B7-ABD7-1B381BA834ED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1" name="Connector: Elbow 230">
              <a:extLst>
                <a:ext uri="{FF2B5EF4-FFF2-40B4-BE49-F238E27FC236}">
                  <a16:creationId xmlns:a16="http://schemas.microsoft.com/office/drawing/2014/main" id="{FEFCB6DA-054E-4DCE-B784-B08F06292BE2}"/>
                </a:ext>
              </a:extLst>
            </p:cNvPr>
            <p:cNvCxnSpPr>
              <a:cxnSpLocks/>
              <a:stCxn id="228" idx="2"/>
              <a:endCxn id="230" idx="1"/>
            </p:cNvCxnSpPr>
            <p:nvPr/>
          </p:nvCxnSpPr>
          <p:spPr>
            <a:xfrm rot="16200000" flipH="1">
              <a:off x="962410" y="2370292"/>
              <a:ext cx="454240" cy="520436"/>
            </a:xfrm>
            <a:prstGeom prst="bentConnector5">
              <a:avLst>
                <a:gd name="adj1" fmla="val 50326"/>
                <a:gd name="adj2" fmla="val 80500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2" name="Rectangle: Rounded Corners 231">
              <a:extLst>
                <a:ext uri="{FF2B5EF4-FFF2-40B4-BE49-F238E27FC236}">
                  <a16:creationId xmlns:a16="http://schemas.microsoft.com/office/drawing/2014/main" id="{C6AFA3A2-FC9A-4992-AC55-B5364866EC69}"/>
                </a:ext>
              </a:extLst>
            </p:cNvPr>
            <p:cNvSpPr/>
            <p:nvPr/>
          </p:nvSpPr>
          <p:spPr>
            <a:xfrm>
              <a:off x="1732715" y="1912638"/>
              <a:ext cx="911852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2</a:t>
              </a:r>
            </a:p>
          </p:txBody>
        </p:sp>
        <p:sp>
          <p:nvSpPr>
            <p:cNvPr id="233" name="Left Brace 232">
              <a:extLst>
                <a:ext uri="{FF2B5EF4-FFF2-40B4-BE49-F238E27FC236}">
                  <a16:creationId xmlns:a16="http://schemas.microsoft.com/office/drawing/2014/main" id="{869A61E4-CFB9-4AF6-B264-C34BB0340AA7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2" name="Rectangle: Rounded Corners 241">
              <a:extLst>
                <a:ext uri="{FF2B5EF4-FFF2-40B4-BE49-F238E27FC236}">
                  <a16:creationId xmlns:a16="http://schemas.microsoft.com/office/drawing/2014/main" id="{CE892029-B0D4-4FB6-A37E-BD79E449A30B}"/>
                </a:ext>
              </a:extLst>
            </p:cNvPr>
            <p:cNvSpPr/>
            <p:nvPr/>
          </p:nvSpPr>
          <p:spPr>
            <a:xfrm>
              <a:off x="1732715" y="1923691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2</a:t>
              </a:r>
            </a:p>
          </p:txBody>
        </p:sp>
      </p:grpSp>
      <p:cxnSp>
        <p:nvCxnSpPr>
          <p:cNvPr id="234" name="Straight Arrow Connector 233">
            <a:extLst>
              <a:ext uri="{FF2B5EF4-FFF2-40B4-BE49-F238E27FC236}">
                <a16:creationId xmlns:a16="http://schemas.microsoft.com/office/drawing/2014/main" id="{D181C82B-96C8-4249-AFAC-47E9066DD0E1}"/>
              </a:ext>
            </a:extLst>
          </p:cNvPr>
          <p:cNvCxnSpPr>
            <a:stCxn id="221" idx="3"/>
            <a:endCxn id="225" idx="1"/>
          </p:cNvCxnSpPr>
          <p:nvPr/>
        </p:nvCxnSpPr>
        <p:spPr>
          <a:xfrm>
            <a:off x="7832857" y="2163950"/>
            <a:ext cx="383404" cy="5536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Arrow Connector 234">
            <a:extLst>
              <a:ext uri="{FF2B5EF4-FFF2-40B4-BE49-F238E27FC236}">
                <a16:creationId xmlns:a16="http://schemas.microsoft.com/office/drawing/2014/main" id="{6BD727D0-24BF-48F6-8F26-91C3F597A5AB}"/>
              </a:ext>
            </a:extLst>
          </p:cNvPr>
          <p:cNvCxnSpPr>
            <a:cxnSpLocks/>
            <a:stCxn id="228" idx="3"/>
          </p:cNvCxnSpPr>
          <p:nvPr/>
        </p:nvCxnSpPr>
        <p:spPr>
          <a:xfrm flipV="1">
            <a:off x="10339385" y="2173837"/>
            <a:ext cx="389302" cy="3174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6" name="Arrow: Up-Down 235">
            <a:extLst>
              <a:ext uri="{FF2B5EF4-FFF2-40B4-BE49-F238E27FC236}">
                <a16:creationId xmlns:a16="http://schemas.microsoft.com/office/drawing/2014/main" id="{3D8E184C-AFDE-4D45-9D51-F01DDCD28535}"/>
              </a:ext>
            </a:extLst>
          </p:cNvPr>
          <p:cNvSpPr/>
          <p:nvPr/>
        </p:nvSpPr>
        <p:spPr>
          <a:xfrm>
            <a:off x="9250312" y="848457"/>
            <a:ext cx="115773" cy="206330"/>
          </a:xfrm>
          <a:prstGeom prst="upDown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239" name="Straight Connector 238">
            <a:extLst>
              <a:ext uri="{FF2B5EF4-FFF2-40B4-BE49-F238E27FC236}">
                <a16:creationId xmlns:a16="http://schemas.microsoft.com/office/drawing/2014/main" id="{5CC2C0DC-1722-463F-8B6D-F91E17C27742}"/>
              </a:ext>
            </a:extLst>
          </p:cNvPr>
          <p:cNvCxnSpPr/>
          <p:nvPr/>
        </p:nvCxnSpPr>
        <p:spPr>
          <a:xfrm>
            <a:off x="5791200" y="5765074"/>
            <a:ext cx="679269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29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176061" y="4337"/>
            <a:ext cx="8509354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6EBE49"/>
                </a:solidFill>
                <a:latin typeface="Arial"/>
              </a:rPr>
              <a:t>Enclosure SSD Configuration For Metadata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6EBE49"/>
              </a:solidFill>
              <a:effectLst/>
              <a:uLnTx/>
              <a:uFillTx/>
              <a:latin typeface="Arial"/>
              <a:ea typeface="+mj-ea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A63DA23-7B21-4615-BCB0-07ACEF7C2234}"/>
              </a:ext>
            </a:extLst>
          </p:cNvPr>
          <p:cNvSpPr/>
          <p:nvPr/>
        </p:nvSpPr>
        <p:spPr>
          <a:xfrm>
            <a:off x="160256" y="3063709"/>
            <a:ext cx="11849492" cy="1825951"/>
          </a:xfrm>
          <a:prstGeom prst="rect">
            <a:avLst/>
          </a:prstGeom>
          <a:noFill/>
          <a:ln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closure 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6E5B48F7-4289-47EA-B08B-27ABADC225FA}"/>
              </a:ext>
            </a:extLst>
          </p:cNvPr>
          <p:cNvSpPr/>
          <p:nvPr/>
        </p:nvSpPr>
        <p:spPr>
          <a:xfrm>
            <a:off x="160256" y="855363"/>
            <a:ext cx="11792931" cy="1378785"/>
          </a:xfrm>
          <a:prstGeom prst="rect">
            <a:avLst/>
          </a:prstGeom>
          <a:noFill/>
          <a:ln w="158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yer</a:t>
            </a: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39684379-6B3D-4F95-B974-ED745BE34456}"/>
              </a:ext>
            </a:extLst>
          </p:cNvPr>
          <p:cNvGrpSpPr/>
          <p:nvPr/>
        </p:nvGrpSpPr>
        <p:grpSpPr>
          <a:xfrm>
            <a:off x="320226" y="1305212"/>
            <a:ext cx="5385654" cy="830288"/>
            <a:chOff x="2957068" y="3033444"/>
            <a:chExt cx="2348132" cy="670178"/>
          </a:xfrm>
        </p:grpSpPr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FA688B1E-D41E-4C66-B6BA-5978A92CC7FA}"/>
                </a:ext>
              </a:extLst>
            </p:cNvPr>
            <p:cNvSpPr/>
            <p:nvPr/>
          </p:nvSpPr>
          <p:spPr>
            <a:xfrm>
              <a:off x="2957068" y="3033444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1</a:t>
              </a:r>
            </a:p>
          </p:txBody>
        </p: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53D704BF-011A-4D14-9F94-4EB4C24CDAA1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142" name="Can 8">
                <a:extLst>
                  <a:ext uri="{FF2B5EF4-FFF2-40B4-BE49-F238E27FC236}">
                    <a16:creationId xmlns:a16="http://schemas.microsoft.com/office/drawing/2014/main" id="{C0231BF0-D37A-4769-8CF8-EF666AD767A0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3" name="Can 8">
                <a:extLst>
                  <a:ext uri="{FF2B5EF4-FFF2-40B4-BE49-F238E27FC236}">
                    <a16:creationId xmlns:a16="http://schemas.microsoft.com/office/drawing/2014/main" id="{CFCA3774-CF14-4F0B-9857-FC872F38138B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4" name="Can 8">
                <a:extLst>
                  <a:ext uri="{FF2B5EF4-FFF2-40B4-BE49-F238E27FC236}">
                    <a16:creationId xmlns:a16="http://schemas.microsoft.com/office/drawing/2014/main" id="{3368C70F-9F92-413B-B505-0BAF71E543A4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5" name="Can 8">
                <a:extLst>
                  <a:ext uri="{FF2B5EF4-FFF2-40B4-BE49-F238E27FC236}">
                    <a16:creationId xmlns:a16="http://schemas.microsoft.com/office/drawing/2014/main" id="{FC6759E1-1FDB-4A6E-AF67-BDB2E244A021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7" name="Can 8">
                <a:extLst>
                  <a:ext uri="{FF2B5EF4-FFF2-40B4-BE49-F238E27FC236}">
                    <a16:creationId xmlns:a16="http://schemas.microsoft.com/office/drawing/2014/main" id="{7DED60DB-C532-4402-86B8-288C81CE6511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 dirty="0"/>
              </a:p>
            </p:txBody>
          </p:sp>
          <p:sp>
            <p:nvSpPr>
              <p:cNvPr id="148" name="Can 8">
                <a:extLst>
                  <a:ext uri="{FF2B5EF4-FFF2-40B4-BE49-F238E27FC236}">
                    <a16:creationId xmlns:a16="http://schemas.microsoft.com/office/drawing/2014/main" id="{9C2BDA2D-FCDB-4837-9A7E-15623A05C3E3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9" name="Can 8">
                <a:extLst>
                  <a:ext uri="{FF2B5EF4-FFF2-40B4-BE49-F238E27FC236}">
                    <a16:creationId xmlns:a16="http://schemas.microsoft.com/office/drawing/2014/main" id="{E7EB2DA0-57F9-4B61-9F43-B27818A95335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51" name="Can 8">
                <a:extLst>
                  <a:ext uri="{FF2B5EF4-FFF2-40B4-BE49-F238E27FC236}">
                    <a16:creationId xmlns:a16="http://schemas.microsoft.com/office/drawing/2014/main" id="{1412172A-F778-4DE3-9F4F-F6DC0BD9D912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r>
                  <a:rPr lang="en-US" sz="1200" b="1" dirty="0"/>
                  <a:t>MD</a:t>
                </a:r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7382C1A-9008-43D0-ACE3-704FD626CB39}"/>
              </a:ext>
            </a:extLst>
          </p:cNvPr>
          <p:cNvGrpSpPr/>
          <p:nvPr/>
        </p:nvGrpSpPr>
        <p:grpSpPr>
          <a:xfrm>
            <a:off x="316757" y="3245268"/>
            <a:ext cx="5367608" cy="1254914"/>
            <a:chOff x="307330" y="4640440"/>
            <a:chExt cx="5367608" cy="1254914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DB2876A2-9577-4343-9FD6-A71E67F54EB2}"/>
                </a:ext>
              </a:extLst>
            </p:cNvPr>
            <p:cNvGrpSpPr/>
            <p:nvPr/>
          </p:nvGrpSpPr>
          <p:grpSpPr>
            <a:xfrm>
              <a:off x="1892608" y="4648294"/>
              <a:ext cx="3782330" cy="1092636"/>
              <a:chOff x="647499" y="5147916"/>
              <a:chExt cx="4814656" cy="1092636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7515105A-95D8-45B1-9D5D-BA692D4C92FE}"/>
                  </a:ext>
                </a:extLst>
              </p:cNvPr>
              <p:cNvGrpSpPr/>
              <p:nvPr/>
            </p:nvGrpSpPr>
            <p:grpSpPr>
              <a:xfrm>
                <a:off x="647499" y="5147916"/>
                <a:ext cx="4814656" cy="1092636"/>
                <a:chOff x="806596" y="4861162"/>
                <a:chExt cx="2142400" cy="1092636"/>
              </a:xfrm>
            </p:grpSpPr>
            <p:sp>
              <p:nvSpPr>
                <p:cNvPr id="43" name="Can 8">
                  <a:extLst>
                    <a:ext uri="{FF2B5EF4-FFF2-40B4-BE49-F238E27FC236}">
                      <a16:creationId xmlns:a16="http://schemas.microsoft.com/office/drawing/2014/main" id="{9555A8CE-9A8E-464C-920E-C2687DDED8BB}"/>
                    </a:ext>
                  </a:extLst>
                </p:cNvPr>
                <p:cNvSpPr/>
                <p:nvPr/>
              </p:nvSpPr>
              <p:spPr>
                <a:xfrm>
                  <a:off x="853628" y="51004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595D4377-BAAA-4944-96ED-7E59ED25B00C}"/>
                    </a:ext>
                  </a:extLst>
                </p:cNvPr>
                <p:cNvSpPr/>
                <p:nvPr/>
              </p:nvSpPr>
              <p:spPr>
                <a:xfrm>
                  <a:off x="806596" y="4861162"/>
                  <a:ext cx="2142400" cy="1092636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b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 : Standard</a:t>
                  </a:r>
                </a:p>
              </p:txBody>
            </p:sp>
            <p:sp>
              <p:nvSpPr>
                <p:cNvPr id="48" name="Can 8">
                  <a:extLst>
                    <a:ext uri="{FF2B5EF4-FFF2-40B4-BE49-F238E27FC236}">
                      <a16:creationId xmlns:a16="http://schemas.microsoft.com/office/drawing/2014/main" id="{E8BF69F3-1FB6-4F31-816F-0F0E38338803}"/>
                    </a:ext>
                  </a:extLst>
                </p:cNvPr>
                <p:cNvSpPr/>
                <p:nvPr/>
              </p:nvSpPr>
              <p:spPr>
                <a:xfrm>
                  <a:off x="123245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9" name="Can 8">
                  <a:extLst>
                    <a:ext uri="{FF2B5EF4-FFF2-40B4-BE49-F238E27FC236}">
                      <a16:creationId xmlns:a16="http://schemas.microsoft.com/office/drawing/2014/main" id="{2FEA4F87-C963-42B9-830C-1255D676A760}"/>
                    </a:ext>
                  </a:extLst>
                </p:cNvPr>
                <p:cNvSpPr/>
                <p:nvPr/>
              </p:nvSpPr>
              <p:spPr>
                <a:xfrm>
                  <a:off x="160692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1" name="Can 8">
                  <a:extLst>
                    <a:ext uri="{FF2B5EF4-FFF2-40B4-BE49-F238E27FC236}">
                      <a16:creationId xmlns:a16="http://schemas.microsoft.com/office/drawing/2014/main" id="{885FBD9D-AE7C-4A5F-9303-6EA6F9D8CF54}"/>
                    </a:ext>
                  </a:extLst>
                </p:cNvPr>
                <p:cNvSpPr/>
                <p:nvPr/>
              </p:nvSpPr>
              <p:spPr>
                <a:xfrm>
                  <a:off x="1985748" y="51091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3" name="Can 8">
                  <a:extLst>
                    <a:ext uri="{FF2B5EF4-FFF2-40B4-BE49-F238E27FC236}">
                      <a16:creationId xmlns:a16="http://schemas.microsoft.com/office/drawing/2014/main" id="{D40B3D97-A66A-4574-8A19-4F49F4B062A4}"/>
                    </a:ext>
                  </a:extLst>
                </p:cNvPr>
                <p:cNvSpPr/>
                <p:nvPr/>
              </p:nvSpPr>
              <p:spPr>
                <a:xfrm>
                  <a:off x="2661052" y="5070694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cxnSp>
            <p:nvCxnSpPr>
              <p:cNvPr id="3" name="Straight Connector 2">
                <a:extLst>
                  <a:ext uri="{FF2B5EF4-FFF2-40B4-BE49-F238E27FC236}">
                    <a16:creationId xmlns:a16="http://schemas.microsoft.com/office/drawing/2014/main" id="{BF1872BC-C131-43EE-8F1B-9B8250A39B28}"/>
                  </a:ext>
                </a:extLst>
              </p:cNvPr>
              <p:cNvCxnSpPr/>
              <p:nvPr/>
            </p:nvCxnSpPr>
            <p:spPr>
              <a:xfrm>
                <a:off x="3976535" y="5701889"/>
                <a:ext cx="622169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EABB38E-534D-42D6-99C9-E87229551C24}"/>
                </a:ext>
              </a:extLst>
            </p:cNvPr>
            <p:cNvGrpSpPr/>
            <p:nvPr/>
          </p:nvGrpSpPr>
          <p:grpSpPr>
            <a:xfrm>
              <a:off x="307330" y="4640440"/>
              <a:ext cx="1496343" cy="1254914"/>
              <a:chOff x="241341" y="4621586"/>
              <a:chExt cx="1496343" cy="1254914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9D6B765-6A54-4F9F-A388-DC47090813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07701" y="4757987"/>
                <a:ext cx="503004" cy="696018"/>
              </a:xfrm>
              <a:prstGeom prst="rect">
                <a:avLst/>
              </a:prstGeom>
            </p:spPr>
          </p:pic>
          <p:pic>
            <p:nvPicPr>
              <p:cNvPr id="162" name="Picture 161">
                <a:extLst>
                  <a:ext uri="{FF2B5EF4-FFF2-40B4-BE49-F238E27FC236}">
                    <a16:creationId xmlns:a16="http://schemas.microsoft.com/office/drawing/2014/main" id="{68094A79-9FD3-4421-AE70-FDF362E2ED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138830" y="4768984"/>
                <a:ext cx="503004" cy="696018"/>
              </a:xfrm>
              <a:prstGeom prst="rect">
                <a:avLst/>
              </a:prstGeom>
            </p:spPr>
          </p:pic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95F55F77-B307-43D0-8879-57D335BB6B6B}"/>
                  </a:ext>
                </a:extLst>
              </p:cNvPr>
              <p:cNvCxnSpPr/>
              <p:nvPr/>
            </p:nvCxnSpPr>
            <p:spPr>
              <a:xfrm>
                <a:off x="831345" y="5118994"/>
                <a:ext cx="303486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C20363FD-D246-443D-A7A8-A61ED4F23233}"/>
                  </a:ext>
                </a:extLst>
              </p:cNvPr>
              <p:cNvSpPr/>
              <p:nvPr/>
            </p:nvSpPr>
            <p:spPr>
              <a:xfrm>
                <a:off x="241341" y="4621586"/>
                <a:ext cx="1496343" cy="1254914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k Group 1 (DG1) : Performance</a:t>
                </a:r>
              </a:p>
            </p:txBody>
          </p:sp>
        </p:grpSp>
      </p:grp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798776E9-6C6C-4700-B9CE-9A64BA01B27E}"/>
              </a:ext>
            </a:extLst>
          </p:cNvPr>
          <p:cNvGrpSpPr/>
          <p:nvPr/>
        </p:nvGrpSpPr>
        <p:grpSpPr>
          <a:xfrm>
            <a:off x="6411509" y="1306780"/>
            <a:ext cx="5385654" cy="830288"/>
            <a:chOff x="2957068" y="3033444"/>
            <a:chExt cx="2348132" cy="670178"/>
          </a:xfrm>
        </p:grpSpPr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CE711C99-DFFC-4AAE-9F7C-3F43D615CDC5}"/>
                </a:ext>
              </a:extLst>
            </p:cNvPr>
            <p:cNvSpPr/>
            <p:nvPr/>
          </p:nvSpPr>
          <p:spPr>
            <a:xfrm>
              <a:off x="2957068" y="3033444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2</a:t>
              </a:r>
            </a:p>
          </p:txBody>
        </p:sp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68EBCCB4-87A4-4F43-AC3F-F68418C04B8E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256" name="Can 8">
                <a:extLst>
                  <a:ext uri="{FF2B5EF4-FFF2-40B4-BE49-F238E27FC236}">
                    <a16:creationId xmlns:a16="http://schemas.microsoft.com/office/drawing/2014/main" id="{52E10E98-C316-4576-A032-D3C37150ECEC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57" name="Can 8">
                <a:extLst>
                  <a:ext uri="{FF2B5EF4-FFF2-40B4-BE49-F238E27FC236}">
                    <a16:creationId xmlns:a16="http://schemas.microsoft.com/office/drawing/2014/main" id="{6FE71F81-11FD-42ED-A9C0-CEC5DBA3EAB1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58" name="Can 8">
                <a:extLst>
                  <a:ext uri="{FF2B5EF4-FFF2-40B4-BE49-F238E27FC236}">
                    <a16:creationId xmlns:a16="http://schemas.microsoft.com/office/drawing/2014/main" id="{8598FB3B-1ACA-45A9-A8DE-131A75FBD36D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59" name="Can 8">
                <a:extLst>
                  <a:ext uri="{FF2B5EF4-FFF2-40B4-BE49-F238E27FC236}">
                    <a16:creationId xmlns:a16="http://schemas.microsoft.com/office/drawing/2014/main" id="{D42CD648-C588-4EDF-9826-8F04DDB6BD11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60" name="Can 8">
                <a:extLst>
                  <a:ext uri="{FF2B5EF4-FFF2-40B4-BE49-F238E27FC236}">
                    <a16:creationId xmlns:a16="http://schemas.microsoft.com/office/drawing/2014/main" id="{8E24A6D5-D2F1-4861-9462-7D98299650FC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 dirty="0"/>
              </a:p>
            </p:txBody>
          </p:sp>
          <p:sp>
            <p:nvSpPr>
              <p:cNvPr id="261" name="Can 8">
                <a:extLst>
                  <a:ext uri="{FF2B5EF4-FFF2-40B4-BE49-F238E27FC236}">
                    <a16:creationId xmlns:a16="http://schemas.microsoft.com/office/drawing/2014/main" id="{8D41FC4C-BD3B-4B67-BD1A-C3661515980D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62" name="Can 8">
                <a:extLst>
                  <a:ext uri="{FF2B5EF4-FFF2-40B4-BE49-F238E27FC236}">
                    <a16:creationId xmlns:a16="http://schemas.microsoft.com/office/drawing/2014/main" id="{23D0CEF8-BEAF-4AB2-A2F4-02F91C82D83A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63" name="Can 8">
                <a:extLst>
                  <a:ext uri="{FF2B5EF4-FFF2-40B4-BE49-F238E27FC236}">
                    <a16:creationId xmlns:a16="http://schemas.microsoft.com/office/drawing/2014/main" id="{7100FB84-299E-407C-9C9D-D2E7B9CB3322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8" name="Left Brace 17">
            <a:extLst>
              <a:ext uri="{FF2B5EF4-FFF2-40B4-BE49-F238E27FC236}">
                <a16:creationId xmlns:a16="http://schemas.microsoft.com/office/drawing/2014/main" id="{83B6338E-8638-42DA-9011-B8F93B99A70B}"/>
              </a:ext>
            </a:extLst>
          </p:cNvPr>
          <p:cNvSpPr/>
          <p:nvPr/>
        </p:nvSpPr>
        <p:spPr>
          <a:xfrm rot="5400000">
            <a:off x="2871753" y="195390"/>
            <a:ext cx="291563" cy="5352513"/>
          </a:xfrm>
          <a:prstGeom prst="leftBrac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E770AB5-FE11-476F-9DBA-DEE8A4E021EA}"/>
              </a:ext>
            </a:extLst>
          </p:cNvPr>
          <p:cNvCxnSpPr>
            <a:stCxn id="140" idx="2"/>
            <a:endCxn id="18" idx="1"/>
          </p:cNvCxnSpPr>
          <p:nvPr/>
        </p:nvCxnSpPr>
        <p:spPr>
          <a:xfrm>
            <a:off x="3013053" y="2135500"/>
            <a:ext cx="4481" cy="590365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B8B24BBB-BFA0-4AF0-8925-504B3673C7AE}"/>
              </a:ext>
            </a:extLst>
          </p:cNvPr>
          <p:cNvCxnSpPr>
            <a:cxnSpLocks/>
            <a:stCxn id="151" idx="3"/>
            <a:endCxn id="164" idx="0"/>
          </p:cNvCxnSpPr>
          <p:nvPr/>
        </p:nvCxnSpPr>
        <p:spPr>
          <a:xfrm rot="5400000">
            <a:off x="2541776" y="541788"/>
            <a:ext cx="1226634" cy="4180327"/>
          </a:xfrm>
          <a:prstGeom prst="bentConnector3">
            <a:avLst>
              <a:gd name="adj1" fmla="val 50000"/>
            </a:avLst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D4EBD7B9-5964-4692-99C8-60847D12EE36}"/>
              </a:ext>
            </a:extLst>
          </p:cNvPr>
          <p:cNvSpPr txBox="1"/>
          <p:nvPr/>
        </p:nvSpPr>
        <p:spPr>
          <a:xfrm>
            <a:off x="201950" y="4994283"/>
            <a:ext cx="53784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Ideally SSD Capacity &gt;= Metadata Volume Size / 2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EF983787-DA07-4448-85EF-33246E64330C}"/>
              </a:ext>
            </a:extLst>
          </p:cNvPr>
          <p:cNvSpPr txBox="1"/>
          <p:nvPr/>
        </p:nvSpPr>
        <p:spPr>
          <a:xfrm>
            <a:off x="297791" y="2318654"/>
            <a:ext cx="2245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erformance Affinity</a:t>
            </a:r>
          </a:p>
        </p:txBody>
      </p:sp>
      <p:sp>
        <p:nvSpPr>
          <p:cNvPr id="265" name="Left Brace 264">
            <a:extLst>
              <a:ext uri="{FF2B5EF4-FFF2-40B4-BE49-F238E27FC236}">
                <a16:creationId xmlns:a16="http://schemas.microsoft.com/office/drawing/2014/main" id="{1408A377-E7E6-42FE-896E-F73721FE9F52}"/>
              </a:ext>
            </a:extLst>
          </p:cNvPr>
          <p:cNvSpPr/>
          <p:nvPr/>
        </p:nvSpPr>
        <p:spPr>
          <a:xfrm rot="5400000">
            <a:off x="8963040" y="159254"/>
            <a:ext cx="291563" cy="5352513"/>
          </a:xfrm>
          <a:prstGeom prst="leftBrac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6" name="Straight Arrow Connector 265">
            <a:extLst>
              <a:ext uri="{FF2B5EF4-FFF2-40B4-BE49-F238E27FC236}">
                <a16:creationId xmlns:a16="http://schemas.microsoft.com/office/drawing/2014/main" id="{5B646D51-3EF0-4285-B1D9-AF1C0FC61679}"/>
              </a:ext>
            </a:extLst>
          </p:cNvPr>
          <p:cNvCxnSpPr>
            <a:cxnSpLocks/>
            <a:stCxn id="254" idx="2"/>
            <a:endCxn id="265" idx="1"/>
          </p:cNvCxnSpPr>
          <p:nvPr/>
        </p:nvCxnSpPr>
        <p:spPr>
          <a:xfrm>
            <a:off x="9104336" y="2137068"/>
            <a:ext cx="4485" cy="552661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Connector: Elbow 266">
            <a:extLst>
              <a:ext uri="{FF2B5EF4-FFF2-40B4-BE49-F238E27FC236}">
                <a16:creationId xmlns:a16="http://schemas.microsoft.com/office/drawing/2014/main" id="{A57EC6AB-18E1-4944-B814-93E213C13D78}"/>
              </a:ext>
            </a:extLst>
          </p:cNvPr>
          <p:cNvCxnSpPr>
            <a:cxnSpLocks/>
            <a:stCxn id="263" idx="3"/>
            <a:endCxn id="275" idx="0"/>
          </p:cNvCxnSpPr>
          <p:nvPr/>
        </p:nvCxnSpPr>
        <p:spPr>
          <a:xfrm rot="5400000">
            <a:off x="8628346" y="576351"/>
            <a:ext cx="1264342" cy="4152044"/>
          </a:xfrm>
          <a:prstGeom prst="bentConnector3">
            <a:avLst>
              <a:gd name="adj1" fmla="val 50000"/>
            </a:avLst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TextBox 267">
            <a:extLst>
              <a:ext uri="{FF2B5EF4-FFF2-40B4-BE49-F238E27FC236}">
                <a16:creationId xmlns:a16="http://schemas.microsoft.com/office/drawing/2014/main" id="{ADBE3EB4-4256-49CF-A588-A1EF1EAEB50A}"/>
              </a:ext>
            </a:extLst>
          </p:cNvPr>
          <p:cNvSpPr txBox="1"/>
          <p:nvPr/>
        </p:nvSpPr>
        <p:spPr>
          <a:xfrm>
            <a:off x="6379652" y="2310798"/>
            <a:ext cx="872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ffinity</a:t>
            </a:r>
          </a:p>
        </p:txBody>
      </p: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128A7D89-77F7-4B11-ACAD-0F4071B41099}"/>
              </a:ext>
            </a:extLst>
          </p:cNvPr>
          <p:cNvGrpSpPr/>
          <p:nvPr/>
        </p:nvGrpSpPr>
        <p:grpSpPr>
          <a:xfrm>
            <a:off x="6436323" y="3284544"/>
            <a:ext cx="5367608" cy="1254914"/>
            <a:chOff x="307330" y="4640440"/>
            <a:chExt cx="5367608" cy="1254914"/>
          </a:xfrm>
        </p:grpSpPr>
        <p:grpSp>
          <p:nvGrpSpPr>
            <p:cNvPr id="270" name="Group 269">
              <a:extLst>
                <a:ext uri="{FF2B5EF4-FFF2-40B4-BE49-F238E27FC236}">
                  <a16:creationId xmlns:a16="http://schemas.microsoft.com/office/drawing/2014/main" id="{F04E201E-FFAC-4A82-9BC6-270DF5587AFC}"/>
                </a:ext>
              </a:extLst>
            </p:cNvPr>
            <p:cNvGrpSpPr/>
            <p:nvPr/>
          </p:nvGrpSpPr>
          <p:grpSpPr>
            <a:xfrm>
              <a:off x="1892608" y="4648294"/>
              <a:ext cx="3782330" cy="1092636"/>
              <a:chOff x="647499" y="5147916"/>
              <a:chExt cx="4814656" cy="1092636"/>
            </a:xfrm>
          </p:grpSpPr>
          <p:grpSp>
            <p:nvGrpSpPr>
              <p:cNvPr id="276" name="Group 275">
                <a:extLst>
                  <a:ext uri="{FF2B5EF4-FFF2-40B4-BE49-F238E27FC236}">
                    <a16:creationId xmlns:a16="http://schemas.microsoft.com/office/drawing/2014/main" id="{E0E7BAF3-F7E6-45BE-A32F-E1FC7FB3AF45}"/>
                  </a:ext>
                </a:extLst>
              </p:cNvPr>
              <p:cNvGrpSpPr/>
              <p:nvPr/>
            </p:nvGrpSpPr>
            <p:grpSpPr>
              <a:xfrm>
                <a:off x="647499" y="5147916"/>
                <a:ext cx="4814656" cy="1092636"/>
                <a:chOff x="806596" y="4861162"/>
                <a:chExt cx="2142400" cy="1092636"/>
              </a:xfrm>
            </p:grpSpPr>
            <p:sp>
              <p:nvSpPr>
                <p:cNvPr id="278" name="Can 8">
                  <a:extLst>
                    <a:ext uri="{FF2B5EF4-FFF2-40B4-BE49-F238E27FC236}">
                      <a16:creationId xmlns:a16="http://schemas.microsoft.com/office/drawing/2014/main" id="{B5507D90-81E1-4339-A141-6703BB2C3A16}"/>
                    </a:ext>
                  </a:extLst>
                </p:cNvPr>
                <p:cNvSpPr/>
                <p:nvPr/>
              </p:nvSpPr>
              <p:spPr>
                <a:xfrm>
                  <a:off x="853628" y="51004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79" name="Rectangle 278">
                  <a:extLst>
                    <a:ext uri="{FF2B5EF4-FFF2-40B4-BE49-F238E27FC236}">
                      <a16:creationId xmlns:a16="http://schemas.microsoft.com/office/drawing/2014/main" id="{8F1BC843-00FC-465A-9A5D-16AF458AA7CC}"/>
                    </a:ext>
                  </a:extLst>
                </p:cNvPr>
                <p:cNvSpPr/>
                <p:nvPr/>
              </p:nvSpPr>
              <p:spPr>
                <a:xfrm>
                  <a:off x="806596" y="4861162"/>
                  <a:ext cx="2142400" cy="1092636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b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 : Standard</a:t>
                  </a:r>
                </a:p>
              </p:txBody>
            </p:sp>
            <p:sp>
              <p:nvSpPr>
                <p:cNvPr id="280" name="Can 8">
                  <a:extLst>
                    <a:ext uri="{FF2B5EF4-FFF2-40B4-BE49-F238E27FC236}">
                      <a16:creationId xmlns:a16="http://schemas.microsoft.com/office/drawing/2014/main" id="{6A5836B4-53F4-4E44-BEAB-5D5C57D4E416}"/>
                    </a:ext>
                  </a:extLst>
                </p:cNvPr>
                <p:cNvSpPr/>
                <p:nvPr/>
              </p:nvSpPr>
              <p:spPr>
                <a:xfrm>
                  <a:off x="123245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1" name="Can 8">
                  <a:extLst>
                    <a:ext uri="{FF2B5EF4-FFF2-40B4-BE49-F238E27FC236}">
                      <a16:creationId xmlns:a16="http://schemas.microsoft.com/office/drawing/2014/main" id="{28D63459-42F3-48A8-98B6-E74936AB0354}"/>
                    </a:ext>
                  </a:extLst>
                </p:cNvPr>
                <p:cNvSpPr/>
                <p:nvPr/>
              </p:nvSpPr>
              <p:spPr>
                <a:xfrm>
                  <a:off x="160692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2" name="Can 8">
                  <a:extLst>
                    <a:ext uri="{FF2B5EF4-FFF2-40B4-BE49-F238E27FC236}">
                      <a16:creationId xmlns:a16="http://schemas.microsoft.com/office/drawing/2014/main" id="{D3551167-CCFD-4ED8-A728-0A333F82FA6B}"/>
                    </a:ext>
                  </a:extLst>
                </p:cNvPr>
                <p:cNvSpPr/>
                <p:nvPr/>
              </p:nvSpPr>
              <p:spPr>
                <a:xfrm>
                  <a:off x="1985748" y="51091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3" name="Can 8">
                  <a:extLst>
                    <a:ext uri="{FF2B5EF4-FFF2-40B4-BE49-F238E27FC236}">
                      <a16:creationId xmlns:a16="http://schemas.microsoft.com/office/drawing/2014/main" id="{3AF0477D-AFEB-42F5-96C8-A9590E13258F}"/>
                    </a:ext>
                  </a:extLst>
                </p:cNvPr>
                <p:cNvSpPr/>
                <p:nvPr/>
              </p:nvSpPr>
              <p:spPr>
                <a:xfrm>
                  <a:off x="2661052" y="5070694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cxnSp>
            <p:nvCxnSpPr>
              <p:cNvPr id="277" name="Straight Connector 276">
                <a:extLst>
                  <a:ext uri="{FF2B5EF4-FFF2-40B4-BE49-F238E27FC236}">
                    <a16:creationId xmlns:a16="http://schemas.microsoft.com/office/drawing/2014/main" id="{2EC18F77-288D-444A-BA8C-0E4A3A8EA33E}"/>
                  </a:ext>
                </a:extLst>
              </p:cNvPr>
              <p:cNvCxnSpPr/>
              <p:nvPr/>
            </p:nvCxnSpPr>
            <p:spPr>
              <a:xfrm>
                <a:off x="3976535" y="5701889"/>
                <a:ext cx="622169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1" name="Group 270">
              <a:extLst>
                <a:ext uri="{FF2B5EF4-FFF2-40B4-BE49-F238E27FC236}">
                  <a16:creationId xmlns:a16="http://schemas.microsoft.com/office/drawing/2014/main" id="{DD0720B6-E690-4FFE-A155-3B28CB99B2C0}"/>
                </a:ext>
              </a:extLst>
            </p:cNvPr>
            <p:cNvGrpSpPr/>
            <p:nvPr/>
          </p:nvGrpSpPr>
          <p:grpSpPr>
            <a:xfrm>
              <a:off x="307330" y="4640440"/>
              <a:ext cx="1496343" cy="1254914"/>
              <a:chOff x="241341" y="4621586"/>
              <a:chExt cx="1496343" cy="1254914"/>
            </a:xfrm>
          </p:grpSpPr>
          <p:pic>
            <p:nvPicPr>
              <p:cNvPr id="272" name="Picture 271">
                <a:extLst>
                  <a:ext uri="{FF2B5EF4-FFF2-40B4-BE49-F238E27FC236}">
                    <a16:creationId xmlns:a16="http://schemas.microsoft.com/office/drawing/2014/main" id="{047BE06C-04A2-4A4A-9201-0927E26E5F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07701" y="4757987"/>
                <a:ext cx="503004" cy="696018"/>
              </a:xfrm>
              <a:prstGeom prst="rect">
                <a:avLst/>
              </a:prstGeom>
            </p:spPr>
          </p:pic>
          <p:pic>
            <p:nvPicPr>
              <p:cNvPr id="273" name="Picture 272">
                <a:extLst>
                  <a:ext uri="{FF2B5EF4-FFF2-40B4-BE49-F238E27FC236}">
                    <a16:creationId xmlns:a16="http://schemas.microsoft.com/office/drawing/2014/main" id="{213CCA3A-F951-4D54-95FA-5E4F77EA82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138830" y="4768984"/>
                <a:ext cx="503004" cy="696018"/>
              </a:xfrm>
              <a:prstGeom prst="rect">
                <a:avLst/>
              </a:prstGeom>
            </p:spPr>
          </p:pic>
          <p:cxnSp>
            <p:nvCxnSpPr>
              <p:cNvPr id="274" name="Straight Connector 273">
                <a:extLst>
                  <a:ext uri="{FF2B5EF4-FFF2-40B4-BE49-F238E27FC236}">
                    <a16:creationId xmlns:a16="http://schemas.microsoft.com/office/drawing/2014/main" id="{A4F57CBF-D6D7-4115-A26E-5D46241D0A43}"/>
                  </a:ext>
                </a:extLst>
              </p:cNvPr>
              <p:cNvCxnSpPr/>
              <p:nvPr/>
            </p:nvCxnSpPr>
            <p:spPr>
              <a:xfrm>
                <a:off x="831345" y="5118994"/>
                <a:ext cx="303486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FABD7695-A7C7-496F-B312-50ABFD78E114}"/>
                  </a:ext>
                </a:extLst>
              </p:cNvPr>
              <p:cNvSpPr/>
              <p:nvPr/>
            </p:nvSpPr>
            <p:spPr>
              <a:xfrm>
                <a:off x="241341" y="4621586"/>
                <a:ext cx="1496343" cy="1254914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k Group 1 (DG1) : Performanc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07780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heme/theme1.xml><?xml version="1.0" encoding="utf-8"?>
<a:theme xmlns:a="http://schemas.openxmlformats.org/drawingml/2006/main" name="1_Seagate_Template_2017">
  <a:themeElements>
    <a:clrScheme name="New Seagate Theme 2">
      <a:dk1>
        <a:srgbClr val="000000"/>
      </a:dk1>
      <a:lt1>
        <a:srgbClr val="FFFFFF"/>
      </a:lt1>
      <a:dk2>
        <a:srgbClr val="78777A"/>
      </a:dk2>
      <a:lt2>
        <a:srgbClr val="FFFFFF"/>
      </a:lt2>
      <a:accent1>
        <a:srgbClr val="6EBE49"/>
      </a:accent1>
      <a:accent2>
        <a:srgbClr val="868589"/>
      </a:accent2>
      <a:accent3>
        <a:srgbClr val="000000"/>
      </a:accent3>
      <a:accent4>
        <a:srgbClr val="F8BE15"/>
      </a:accent4>
      <a:accent5>
        <a:srgbClr val="00A1DD"/>
      </a:accent5>
      <a:accent6>
        <a:srgbClr val="008F98"/>
      </a:accent6>
      <a:hlink>
        <a:srgbClr val="6EBE4A"/>
      </a:hlink>
      <a:folHlink>
        <a:srgbClr val="86858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Internal Spreads">
  <a:themeElements>
    <a:clrScheme name="Seagate 2019">
      <a:dk1>
        <a:srgbClr val="000000"/>
      </a:dk1>
      <a:lt1>
        <a:srgbClr val="FFFFFF"/>
      </a:lt1>
      <a:dk2>
        <a:srgbClr val="D4D4D4"/>
      </a:dk2>
      <a:lt2>
        <a:srgbClr val="6EBE49"/>
      </a:lt2>
      <a:accent1>
        <a:srgbClr val="00A0DD"/>
      </a:accent1>
      <a:accent2>
        <a:srgbClr val="6EBE49"/>
      </a:accent2>
      <a:accent3>
        <a:srgbClr val="F7BD15"/>
      </a:accent3>
      <a:accent4>
        <a:srgbClr val="008E98"/>
      </a:accent4>
      <a:accent5>
        <a:srgbClr val="FF5000"/>
      </a:accent5>
      <a:accent6>
        <a:srgbClr val="C7C7C7"/>
      </a:accent6>
      <a:hlink>
        <a:srgbClr val="008E98"/>
      </a:hlink>
      <a:folHlink>
        <a:srgbClr val="6DBD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6" id="{99340EC1-D018-F241-A1DD-48396BC6DDC3}" vid="{28ADEB87-9F15-8E41-A0E3-EDC92A33EB1E}"/>
    </a:ext>
  </a:extLst>
</a:theme>
</file>

<file path=ppt/theme/theme3.xml><?xml version="1.0" encoding="utf-8"?>
<a:theme xmlns:a="http://schemas.openxmlformats.org/drawingml/2006/main" name="Internal with Page number">
  <a:themeElements>
    <a:clrScheme name="Seagate">
      <a:dk1>
        <a:srgbClr val="000000"/>
      </a:dk1>
      <a:lt1>
        <a:srgbClr val="FFFFFF"/>
      </a:lt1>
      <a:dk2>
        <a:srgbClr val="D4D4D4"/>
      </a:dk2>
      <a:lt2>
        <a:srgbClr val="58C619"/>
      </a:lt2>
      <a:accent1>
        <a:srgbClr val="155C0E"/>
      </a:accent1>
      <a:accent2>
        <a:srgbClr val="16800A"/>
      </a:accent2>
      <a:accent3>
        <a:srgbClr val="399F18"/>
      </a:accent3>
      <a:accent4>
        <a:srgbClr val="58C619"/>
      </a:accent4>
      <a:accent5>
        <a:srgbClr val="7CD73E"/>
      </a:accent5>
      <a:accent6>
        <a:srgbClr val="C7C7C7"/>
      </a:accent6>
      <a:hlink>
        <a:srgbClr val="399F18"/>
      </a:hlink>
      <a:folHlink>
        <a:srgbClr val="7CD73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eagate_2019_Template_JG" id="{D7FC8DCE-93B7-5441-86D7-AE3B0988B3C2}" vid="{4EAC052A-77C9-1042-8CF2-67237DF1B9C6}"/>
    </a:ext>
  </a:extLst>
</a:theme>
</file>

<file path=ppt/theme/theme4.xml><?xml version="1.0" encoding="utf-8"?>
<a:theme xmlns:a="http://schemas.openxmlformats.org/drawingml/2006/main" name="1_Internal Spreads">
  <a:themeElements>
    <a:clrScheme name="Seagate 2019">
      <a:dk1>
        <a:srgbClr val="000000"/>
      </a:dk1>
      <a:lt1>
        <a:srgbClr val="FFFFFF"/>
      </a:lt1>
      <a:dk2>
        <a:srgbClr val="D4D4D4"/>
      </a:dk2>
      <a:lt2>
        <a:srgbClr val="6EBE49"/>
      </a:lt2>
      <a:accent1>
        <a:srgbClr val="00A0DD"/>
      </a:accent1>
      <a:accent2>
        <a:srgbClr val="6EBE49"/>
      </a:accent2>
      <a:accent3>
        <a:srgbClr val="F7BD15"/>
      </a:accent3>
      <a:accent4>
        <a:srgbClr val="008E98"/>
      </a:accent4>
      <a:accent5>
        <a:srgbClr val="FF5000"/>
      </a:accent5>
      <a:accent6>
        <a:srgbClr val="C7C7C7"/>
      </a:accent6>
      <a:hlink>
        <a:srgbClr val="008E98"/>
      </a:hlink>
      <a:folHlink>
        <a:srgbClr val="6DBD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8" id="{0B82EFEB-F44A-2945-8ED2-6B41C8269EE4}" vid="{D82BB68C-BF31-5341-BD78-E06E79D02748}"/>
    </a:ext>
  </a:extLst>
</a:theme>
</file>

<file path=ppt/theme/theme5.xml><?xml version="1.0" encoding="utf-8"?>
<a:theme xmlns:a="http://schemas.openxmlformats.org/drawingml/2006/main" name="Master">
  <a:themeElements>
    <a:clrScheme name="Seagate">
      <a:dk1>
        <a:srgbClr val="000000"/>
      </a:dk1>
      <a:lt1>
        <a:srgbClr val="FFFFFF"/>
      </a:lt1>
      <a:dk2>
        <a:srgbClr val="D4D4D4"/>
      </a:dk2>
      <a:lt2>
        <a:srgbClr val="58C619"/>
      </a:lt2>
      <a:accent1>
        <a:srgbClr val="155C0E"/>
      </a:accent1>
      <a:accent2>
        <a:srgbClr val="16800A"/>
      </a:accent2>
      <a:accent3>
        <a:srgbClr val="399F18"/>
      </a:accent3>
      <a:accent4>
        <a:srgbClr val="58C619"/>
      </a:accent4>
      <a:accent5>
        <a:srgbClr val="7CD73E"/>
      </a:accent5>
      <a:accent6>
        <a:srgbClr val="C7C7C7"/>
      </a:accent6>
      <a:hlink>
        <a:srgbClr val="399F18"/>
      </a:hlink>
      <a:folHlink>
        <a:srgbClr val="7CD73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eagate_2019_Template_JG" id="{D7FC8DCE-93B7-5441-86D7-AE3B0988B3C2}" vid="{4EAC052A-77C9-1042-8CF2-67237DF1B9C6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d5b1f3f-e1a2-4051-b3ff-61befe3e5706">
      <UserInfo>
        <DisplayName>CORTX SME Members</DisplayName>
        <AccountId>20809</AccountId>
        <AccountType/>
      </UserInfo>
      <UserInfo>
        <DisplayName>Ken Claffey</DisplayName>
        <AccountId>660</AccountId>
        <AccountType/>
      </UserInfo>
      <UserInfo>
        <DisplayName>John Callender</DisplayName>
        <AccountId>1891</AccountId>
        <AccountType/>
      </UserInfo>
    </SharedWithUsers>
    <ResourceId xmlns="e03414f7-9e45-4237-93c4-78fc1700a09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104BC548CBC64288D8C702F05F8484" ma:contentTypeVersion="" ma:contentTypeDescription="Create a new document." ma:contentTypeScope="" ma:versionID="5fce39971f742b15a49664c532220197">
  <xsd:schema xmlns:xsd="http://www.w3.org/2001/XMLSchema" xmlns:xs="http://www.w3.org/2001/XMLSchema" xmlns:p="http://schemas.microsoft.com/office/2006/metadata/properties" xmlns:ns2="7d5b1f3f-e1a2-4051-b3ff-61befe3e5706" xmlns:ns3="e03414f7-9e45-4237-93c4-78fc1700a097" targetNamespace="http://schemas.microsoft.com/office/2006/metadata/properties" ma:root="true" ma:fieldsID="ef1ebf6fc92da47388df519b3f3286fb" ns2:_="" ns3:_="">
    <xsd:import namespace="7d5b1f3f-e1a2-4051-b3ff-61befe3e5706"/>
    <xsd:import namespace="e03414f7-9e45-4237-93c4-78fc1700a09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ResourceId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5b1f3f-e1a2-4051-b3ff-61befe3e570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3414f7-9e45-4237-93c4-78fc1700a097" elementFormDefault="qualified">
    <xsd:import namespace="http://schemas.microsoft.com/office/2006/documentManagement/types"/>
    <xsd:import namespace="http://schemas.microsoft.com/office/infopath/2007/PartnerControls"/>
    <xsd:element name="ResourceId" ma:index="10" nillable="true" ma:displayName="ResourceId" ma:indexed="true" ma:internalName="ResourceId">
      <xsd:simpleType>
        <xsd:restriction base="dms:Text"/>
      </xsd:simple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6ACDCE7-50C5-47B0-882D-D801FB819EF4}">
  <ds:schemaRefs>
    <ds:schemaRef ds:uri="http://schemas.openxmlformats.org/package/2006/metadata/core-properties"/>
    <ds:schemaRef ds:uri="http://www.w3.org/XML/1998/namespace"/>
    <ds:schemaRef ds:uri="http://purl.org/dc/terms/"/>
    <ds:schemaRef ds:uri="http://purl.org/dc/dcmitype/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e03414f7-9e45-4237-93c4-78fc1700a097"/>
    <ds:schemaRef ds:uri="7d5b1f3f-e1a2-4051-b3ff-61befe3e5706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B32DF934-28EC-4FD9-AB14-B7F1769B6F3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F291D47-0E7B-4CA0-91E7-E276214E13E8}">
  <ds:schemaRefs>
    <ds:schemaRef ds:uri="7d5b1f3f-e1a2-4051-b3ff-61befe3e5706"/>
    <ds:schemaRef ds:uri="e03414f7-9e45-4237-93c4-78fc1700a09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617</TotalTime>
  <Words>306</Words>
  <Application>Microsoft Office PowerPoint</Application>
  <PresentationFormat>Widescreen</PresentationFormat>
  <Paragraphs>110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8" baseType="lpstr">
      <vt:lpstr>Arial</vt:lpstr>
      <vt:lpstr>Calibri</vt:lpstr>
      <vt:lpstr>Comic Sans MS</vt:lpstr>
      <vt:lpstr>Flaticon</vt:lpstr>
      <vt:lpstr>Helvetica Neue LT Std 45 Light</vt:lpstr>
      <vt:lpstr>Helvetica Neue LT Std 55 Roman</vt:lpstr>
      <vt:lpstr>Helvetica Neue LT Std 75</vt:lpstr>
      <vt:lpstr>HelveticaNeueLT Std Ext</vt:lpstr>
      <vt:lpstr>Lato</vt:lpstr>
      <vt:lpstr>Merriweather Sans</vt:lpstr>
      <vt:lpstr>Noto Sans Symbols</vt:lpstr>
      <vt:lpstr>Noto Symbol</vt:lpstr>
      <vt:lpstr>Open Sans</vt:lpstr>
      <vt:lpstr>Open Sans Light</vt:lpstr>
      <vt:lpstr>Questrial</vt:lpstr>
      <vt:lpstr>Segoe UI</vt:lpstr>
      <vt:lpstr>Times New Roman</vt:lpstr>
      <vt:lpstr>Wingdings</vt:lpstr>
      <vt:lpstr>1_Seagate_Template_2017</vt:lpstr>
      <vt:lpstr>Internal Spreads</vt:lpstr>
      <vt:lpstr>Internal with Page number</vt:lpstr>
      <vt:lpstr>1_Internal Spreads</vt:lpstr>
      <vt:lpstr>Master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CS Architecture  (Requi)</dc:title>
  <dc:creator/>
  <cp:lastModifiedBy>Shankar Tukaram More</cp:lastModifiedBy>
  <cp:revision>74</cp:revision>
  <dcterms:created xsi:type="dcterms:W3CDTF">2020-03-11T05:48:11Z</dcterms:created>
  <dcterms:modified xsi:type="dcterms:W3CDTF">2020-12-21T06:2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104BC548CBC64288D8C702F05F8484</vt:lpwstr>
  </property>
  <property fmtid="{D5CDD505-2E9C-101B-9397-08002B2CF9AE}" pid="3" name="_SourceUrl">
    <vt:lpwstr/>
  </property>
  <property fmtid="{D5CDD505-2E9C-101B-9397-08002B2CF9AE}" pid="4" name="_SharedFileIndex">
    <vt:lpwstr/>
  </property>
  <property fmtid="{D5CDD505-2E9C-101B-9397-08002B2CF9AE}" pid="5" name="ComplianceAssetId">
    <vt:lpwstr/>
  </property>
  <property fmtid="{D5CDD505-2E9C-101B-9397-08002B2CF9AE}" pid="6" name="SharedWithUsers">
    <vt:lpwstr>7104;#Pranay Kumar;#7103;#Ajay Srivastava;#16656;#Amit Kapil;#1043;#Chetan Subhash Deshmukh;#20809;#CORTX SME Members;#6961;#BK Singh;#662;#Mohamad El-Batal;#6962;#Ujjwal Lanjewar;#7041;#Tony Tian</vt:lpwstr>
  </property>
</Properties>
</file>